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22" r:id="rId1"/>
    <p:sldMasterId id="2147483706" r:id="rId2"/>
    <p:sldMasterId id="2147483660" r:id="rId3"/>
    <p:sldMasterId id="2147483676" r:id="rId4"/>
  </p:sldMasterIdLst>
  <p:notesMasterIdLst>
    <p:notesMasterId r:id="rId33"/>
  </p:notesMasterIdLst>
  <p:handoutMasterIdLst>
    <p:handoutMasterId r:id="rId34"/>
  </p:handoutMasterIdLst>
  <p:sldIdLst>
    <p:sldId id="2141411741" r:id="rId5"/>
    <p:sldId id="315" r:id="rId6"/>
    <p:sldId id="16535" r:id="rId7"/>
    <p:sldId id="16577" r:id="rId8"/>
    <p:sldId id="2141411740" r:id="rId9"/>
    <p:sldId id="16539" r:id="rId10"/>
    <p:sldId id="2141411728" r:id="rId11"/>
    <p:sldId id="2141411715" r:id="rId12"/>
    <p:sldId id="2141411714" r:id="rId13"/>
    <p:sldId id="2141411731" r:id="rId14"/>
    <p:sldId id="257" r:id="rId15"/>
    <p:sldId id="2141411736" r:id="rId16"/>
    <p:sldId id="2141411737" r:id="rId17"/>
    <p:sldId id="2141411738" r:id="rId18"/>
    <p:sldId id="2141411730" r:id="rId19"/>
    <p:sldId id="2141411717" r:id="rId20"/>
    <p:sldId id="2141411744" r:id="rId21"/>
    <p:sldId id="3054" r:id="rId22"/>
    <p:sldId id="3052" r:id="rId23"/>
    <p:sldId id="2141411720" r:id="rId24"/>
    <p:sldId id="2141411721" r:id="rId25"/>
    <p:sldId id="2141411724" r:id="rId26"/>
    <p:sldId id="2141411727" r:id="rId27"/>
    <p:sldId id="2141411723" r:id="rId28"/>
    <p:sldId id="2141411710" r:id="rId29"/>
    <p:sldId id="2141411729" r:id="rId30"/>
    <p:sldId id="2141411726" r:id="rId31"/>
    <p:sldId id="2141411713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3C0199-E5A7-46DF-9BEE-89A00585054B}" v="5" dt="2021-05-04T15:08:38.6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76" autoAdjust="0"/>
    <p:restoredTop sz="61395" autoAdjust="0"/>
  </p:normalViewPr>
  <p:slideViewPr>
    <p:cSldViewPr snapToGrid="0">
      <p:cViewPr varScale="1">
        <p:scale>
          <a:sx n="70" d="100"/>
          <a:sy n="70" d="100"/>
        </p:scale>
        <p:origin x="1170" y="7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A761AE4-81EE-4599-8DEE-35EA81D7FA58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0B1BA0E-2F54-4FE4-821C-0652AA139CA3}">
      <dgm:prSet phldrT="[Text]" custT="1"/>
      <dgm:spPr/>
      <dgm:t>
        <a:bodyPr/>
        <a:lstStyle/>
        <a:p>
          <a:r>
            <a:rPr lang="en-GB" sz="2000" dirty="0">
              <a:solidFill>
                <a:schemeClr val="accent6"/>
              </a:solidFill>
              <a:latin typeface="NBS Light"/>
            </a:rPr>
            <a:t>Formal project methodology</a:t>
          </a:r>
        </a:p>
      </dgm:t>
    </dgm:pt>
    <dgm:pt modelId="{1102CBD0-F447-45DE-BE69-845A6CBD3853}" type="parTrans" cxnId="{C73E561D-CEBA-414D-BE83-9302BCDA209A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BB1797EA-EE67-4159-8B73-D2E3AC048AB8}" type="sibTrans" cxnId="{C73E561D-CEBA-414D-BE83-9302BCDA209A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E4E6BEAD-455E-484F-844D-27508C3C0B9C}">
      <dgm:prSet phldrT="[Text]" custT="1"/>
      <dgm:spPr/>
      <dgm:t>
        <a:bodyPr/>
        <a:lstStyle/>
        <a:p>
          <a:r>
            <a:rPr lang="en-GB" sz="2000">
              <a:solidFill>
                <a:schemeClr val="accent6"/>
              </a:solidFill>
              <a:latin typeface="NBS Light"/>
            </a:rPr>
            <a:t>Adaptive Change Framework</a:t>
          </a:r>
        </a:p>
      </dgm:t>
    </dgm:pt>
    <dgm:pt modelId="{002E04A7-EBFD-410D-A85E-903C6A1ED79D}" type="parTrans" cxnId="{0D94E056-AB15-47D8-9045-31756A2A73CB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42063287-1AFA-4F23-9CA4-2E9E51E70DD5}" type="sibTrans" cxnId="{0D94E056-AB15-47D8-9045-31756A2A73CB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D3A06FFA-B026-4CE0-A24B-277A9DE92219}">
      <dgm:prSet phldrT="[Text]" custT="1"/>
      <dgm:spPr/>
      <dgm:t>
        <a:bodyPr/>
        <a:lstStyle/>
        <a:p>
          <a:r>
            <a:rPr lang="en-GB" sz="2000">
              <a:solidFill>
                <a:schemeClr val="accent6"/>
              </a:solidFill>
              <a:latin typeface="NBS Light"/>
            </a:rPr>
            <a:t>Standards</a:t>
          </a:r>
        </a:p>
      </dgm:t>
    </dgm:pt>
    <dgm:pt modelId="{74D4F649-4740-4AFB-9881-56A5AFE05006}" type="parTrans" cxnId="{F1DBBE78-B5D6-4C28-831A-EF4080FC9B36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69DFEA23-CF6C-4E5B-ABF1-D0C472A342BE}" type="sibTrans" cxnId="{F1DBBE78-B5D6-4C28-831A-EF4080FC9B36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5F65246D-4E61-4CDF-9578-AD42A3F5B91C}">
      <dgm:prSet phldrT="[Text]" custT="1"/>
      <dgm:spPr/>
      <dgm:t>
        <a:bodyPr/>
        <a:lstStyle/>
        <a:p>
          <a:r>
            <a:rPr lang="en-GB" sz="2000">
              <a:solidFill>
                <a:schemeClr val="accent6"/>
              </a:solidFill>
              <a:latin typeface="NBS Light"/>
            </a:rPr>
            <a:t>Guardrails</a:t>
          </a:r>
        </a:p>
      </dgm:t>
    </dgm:pt>
    <dgm:pt modelId="{2442798B-8E56-4088-ADCD-4751349509EB}" type="parTrans" cxnId="{372B06C3-1961-407B-8205-39B5BD6BB52C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6BF54432-1C76-4A25-951E-9DD48B77C4D9}" type="sibTrans" cxnId="{372B06C3-1961-407B-8205-39B5BD6BB52C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B5D1473D-84D3-4F18-9360-22AB091BD486}">
      <dgm:prSet phldrT="[Text]" custT="1"/>
      <dgm:spPr/>
      <dgm:t>
        <a:bodyPr/>
        <a:lstStyle/>
        <a:p>
          <a:r>
            <a:rPr lang="en-GB" sz="2000">
              <a:solidFill>
                <a:schemeClr val="accent6"/>
              </a:solidFill>
              <a:latin typeface="NBS Light"/>
            </a:rPr>
            <a:t>Checklists</a:t>
          </a:r>
        </a:p>
      </dgm:t>
    </dgm:pt>
    <dgm:pt modelId="{20185478-2D53-427C-9DC1-4B160C1F8F58}" type="parTrans" cxnId="{E6600AA4-F745-4F2E-8303-3F2A356AE2A2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699B74C8-45E3-4B04-8111-11D118D43B80}" type="sibTrans" cxnId="{E6600AA4-F745-4F2E-8303-3F2A356AE2A2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2161B720-49F4-4587-8B3E-23060DADB615}">
      <dgm:prSet phldrT="[Text]" custT="1"/>
      <dgm:spPr/>
      <dgm:t>
        <a:bodyPr/>
        <a:lstStyle/>
        <a:p>
          <a:r>
            <a:rPr lang="en-GB" sz="2000">
              <a:solidFill>
                <a:schemeClr val="accent6"/>
              </a:solidFill>
              <a:latin typeface="NBS Light"/>
            </a:rPr>
            <a:t>Assessments</a:t>
          </a:r>
        </a:p>
      </dgm:t>
    </dgm:pt>
    <dgm:pt modelId="{5DF27920-C260-4D6F-BE65-B708D2A1354C}" type="parTrans" cxnId="{0E758611-DD9F-4751-9BDB-6FDE72BC9FED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0989FC68-2409-4677-95B1-18C59B855C6B}" type="sibTrans" cxnId="{0E758611-DD9F-4751-9BDB-6FDE72BC9FED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11F27F85-9CF5-44CF-8F81-A69C99AEBB43}">
      <dgm:prSet phldrT="[Text]" custT="1"/>
      <dgm:spPr/>
      <dgm:t>
        <a:bodyPr/>
        <a:lstStyle/>
        <a:p>
          <a:r>
            <a:rPr lang="en-GB" sz="2000">
              <a:solidFill>
                <a:schemeClr val="accent6"/>
              </a:solidFill>
              <a:latin typeface="NBS Light"/>
            </a:rPr>
            <a:t>Early Agile Successes</a:t>
          </a:r>
        </a:p>
      </dgm:t>
    </dgm:pt>
    <dgm:pt modelId="{42C45420-0C08-4132-9A02-9374BCDADD77}" type="parTrans" cxnId="{3254295B-A9A5-4904-857E-6F0CCF5F6F0E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DDCDE96F-B60B-4B91-9BFC-44A3F5F216EF}" type="sibTrans" cxnId="{3254295B-A9A5-4904-857E-6F0CCF5F6F0E}">
      <dgm:prSet/>
      <dgm:spPr/>
      <dgm:t>
        <a:bodyPr/>
        <a:lstStyle/>
        <a:p>
          <a:endParaRPr lang="en-GB" sz="1600">
            <a:solidFill>
              <a:schemeClr val="accent6"/>
            </a:solidFill>
          </a:endParaRPr>
        </a:p>
      </dgm:t>
    </dgm:pt>
    <dgm:pt modelId="{3036B8AB-FAD3-46E3-8D41-19381E1E3B23}" type="pres">
      <dgm:prSet presAssocID="{CA761AE4-81EE-4599-8DEE-35EA81D7FA58}" presName="Name0" presStyleCnt="0">
        <dgm:presLayoutVars>
          <dgm:dir/>
        </dgm:presLayoutVars>
      </dgm:prSet>
      <dgm:spPr/>
    </dgm:pt>
    <dgm:pt modelId="{3DEC061C-4A1A-4CFB-BE83-D467B61896EE}" type="pres">
      <dgm:prSet presAssocID="{E0B1BA0E-2F54-4FE4-821C-0652AA139CA3}" presName="parComposite" presStyleCnt="0"/>
      <dgm:spPr/>
    </dgm:pt>
    <dgm:pt modelId="{ADBEF2CA-4E97-4013-BECE-41EE8364607D}" type="pres">
      <dgm:prSet presAssocID="{E0B1BA0E-2F54-4FE4-821C-0652AA139CA3}" presName="parBigCircle" presStyleLbl="node0" presStyleIdx="0" presStyleCnt="2"/>
      <dgm:spPr>
        <a:solidFill>
          <a:schemeClr val="accent3">
            <a:lumMod val="40000"/>
            <a:lumOff val="60000"/>
          </a:schemeClr>
        </a:solidFill>
      </dgm:spPr>
    </dgm:pt>
    <dgm:pt modelId="{213CB293-0FE7-4525-9F0A-41A1BE592887}" type="pres">
      <dgm:prSet presAssocID="{E0B1BA0E-2F54-4FE4-821C-0652AA139CA3}" presName="parTx" presStyleLbl="revTx" presStyleIdx="0" presStyleCnt="12"/>
      <dgm:spPr/>
    </dgm:pt>
    <dgm:pt modelId="{46F375DD-238E-476B-802A-ACB3950E4ECB}" type="pres">
      <dgm:prSet presAssocID="{E0B1BA0E-2F54-4FE4-821C-0652AA139CA3}" presName="bSpace" presStyleCnt="0"/>
      <dgm:spPr/>
    </dgm:pt>
    <dgm:pt modelId="{B8914739-A04B-45DE-A830-FD959FCB951A}" type="pres">
      <dgm:prSet presAssocID="{E0B1BA0E-2F54-4FE4-821C-0652AA139CA3}" presName="parBackupNorm" presStyleCnt="0"/>
      <dgm:spPr/>
    </dgm:pt>
    <dgm:pt modelId="{4E560C4B-F838-4532-9D84-950FBC2008C3}" type="pres">
      <dgm:prSet presAssocID="{BB1797EA-EE67-4159-8B73-D2E3AC048AB8}" presName="parSpace" presStyleCnt="0"/>
      <dgm:spPr/>
    </dgm:pt>
    <dgm:pt modelId="{AC522960-E4E8-4D2D-A4B0-D1CB3BD57787}" type="pres">
      <dgm:prSet presAssocID="{11F27F85-9CF5-44CF-8F81-A69C99AEBB43}" presName="desBackupLeftNorm" presStyleCnt="0"/>
      <dgm:spPr/>
    </dgm:pt>
    <dgm:pt modelId="{1B27B291-6396-41ED-84AF-AC4AEB01742F}" type="pres">
      <dgm:prSet presAssocID="{11F27F85-9CF5-44CF-8F81-A69C99AEBB43}" presName="desComposite" presStyleCnt="0"/>
      <dgm:spPr/>
    </dgm:pt>
    <dgm:pt modelId="{BFFD1C97-79DB-4068-B9EE-1F2EFE666EF1}" type="pres">
      <dgm:prSet presAssocID="{11F27F85-9CF5-44CF-8F81-A69C99AEBB43}" presName="desCircle" presStyleLbl="node1" presStyleIdx="0" presStyleCnt="5"/>
      <dgm:spPr>
        <a:solidFill>
          <a:schemeClr val="accent5">
            <a:lumMod val="60000"/>
            <a:lumOff val="40000"/>
          </a:schemeClr>
        </a:solidFill>
      </dgm:spPr>
    </dgm:pt>
    <dgm:pt modelId="{809B394D-79A6-4E5F-81DA-60261B2F4021}" type="pres">
      <dgm:prSet presAssocID="{11F27F85-9CF5-44CF-8F81-A69C99AEBB43}" presName="chTx" presStyleLbl="revTx" presStyleIdx="1" presStyleCnt="12"/>
      <dgm:spPr/>
    </dgm:pt>
    <dgm:pt modelId="{7452ADB3-2078-4DF6-B4C0-DC813575339A}" type="pres">
      <dgm:prSet presAssocID="{11F27F85-9CF5-44CF-8F81-A69C99AEBB43}" presName="desTx" presStyleLbl="revTx" presStyleIdx="2" presStyleCnt="12">
        <dgm:presLayoutVars>
          <dgm:bulletEnabled val="1"/>
        </dgm:presLayoutVars>
      </dgm:prSet>
      <dgm:spPr/>
    </dgm:pt>
    <dgm:pt modelId="{BFC0F9A4-BDE3-47F5-B6DE-A6CC69328E5C}" type="pres">
      <dgm:prSet presAssocID="{11F27F85-9CF5-44CF-8F81-A69C99AEBB43}" presName="desBackupRightNorm" presStyleCnt="0"/>
      <dgm:spPr/>
    </dgm:pt>
    <dgm:pt modelId="{E4A8DC88-8CB9-4D67-8818-B47843D70B8C}" type="pres">
      <dgm:prSet presAssocID="{DDCDE96F-B60B-4B91-9BFC-44A3F5F216EF}" presName="desSpace" presStyleCnt="0"/>
      <dgm:spPr/>
    </dgm:pt>
    <dgm:pt modelId="{C4DC36F4-84C9-41DE-AB29-50605F3D3B19}" type="pres">
      <dgm:prSet presAssocID="{E4E6BEAD-455E-484F-844D-27508C3C0B9C}" presName="parComposite" presStyleCnt="0"/>
      <dgm:spPr/>
    </dgm:pt>
    <dgm:pt modelId="{A1DD86DC-5CE0-4A91-8ABD-60F1AC640F94}" type="pres">
      <dgm:prSet presAssocID="{E4E6BEAD-455E-484F-844D-27508C3C0B9C}" presName="parBigCircle" presStyleLbl="node0" presStyleIdx="1" presStyleCnt="2"/>
      <dgm:spPr>
        <a:solidFill>
          <a:srgbClr val="92D050"/>
        </a:solidFill>
      </dgm:spPr>
    </dgm:pt>
    <dgm:pt modelId="{0E2A2977-64E1-4279-8804-9392B4FB27ED}" type="pres">
      <dgm:prSet presAssocID="{E4E6BEAD-455E-484F-844D-27508C3C0B9C}" presName="parTx" presStyleLbl="revTx" presStyleIdx="3" presStyleCnt="12"/>
      <dgm:spPr/>
    </dgm:pt>
    <dgm:pt modelId="{512E003D-EFC8-41F6-A11A-4B4A576D627C}" type="pres">
      <dgm:prSet presAssocID="{E4E6BEAD-455E-484F-844D-27508C3C0B9C}" presName="bSpace" presStyleCnt="0"/>
      <dgm:spPr/>
    </dgm:pt>
    <dgm:pt modelId="{9F55A7BB-80BF-4E2B-BD78-339D1137835B}" type="pres">
      <dgm:prSet presAssocID="{E4E6BEAD-455E-484F-844D-27508C3C0B9C}" presName="parBackupNorm" presStyleCnt="0"/>
      <dgm:spPr/>
    </dgm:pt>
    <dgm:pt modelId="{F60539D1-6F27-4BFA-A005-1385A1DEFAEC}" type="pres">
      <dgm:prSet presAssocID="{42063287-1AFA-4F23-9CA4-2E9E51E70DD5}" presName="parSpace" presStyleCnt="0"/>
      <dgm:spPr/>
    </dgm:pt>
    <dgm:pt modelId="{14C0F7BB-CDE3-4E76-8F18-16C8AC48A822}" type="pres">
      <dgm:prSet presAssocID="{D3A06FFA-B026-4CE0-A24B-277A9DE92219}" presName="desBackupLeftNorm" presStyleCnt="0"/>
      <dgm:spPr/>
    </dgm:pt>
    <dgm:pt modelId="{F74126DA-37C8-410A-8093-E555AF1B8F85}" type="pres">
      <dgm:prSet presAssocID="{D3A06FFA-B026-4CE0-A24B-277A9DE92219}" presName="desComposite" presStyleCnt="0"/>
      <dgm:spPr/>
    </dgm:pt>
    <dgm:pt modelId="{BAB54BC1-DBDB-4692-8B9A-C81129A4AA0D}" type="pres">
      <dgm:prSet presAssocID="{D3A06FFA-B026-4CE0-A24B-277A9DE92219}" presName="desCircle" presStyleLbl="node1" presStyleIdx="1" presStyleCnt="5"/>
      <dgm:spPr>
        <a:solidFill>
          <a:schemeClr val="accent3">
            <a:lumMod val="60000"/>
            <a:lumOff val="40000"/>
          </a:schemeClr>
        </a:solidFill>
      </dgm:spPr>
    </dgm:pt>
    <dgm:pt modelId="{3D8DBB6F-7150-4B10-9FCF-00D9AAD86A2E}" type="pres">
      <dgm:prSet presAssocID="{D3A06FFA-B026-4CE0-A24B-277A9DE92219}" presName="chTx" presStyleLbl="revTx" presStyleIdx="4" presStyleCnt="12"/>
      <dgm:spPr/>
    </dgm:pt>
    <dgm:pt modelId="{2A99CE41-994D-4383-A778-4CDBA1815548}" type="pres">
      <dgm:prSet presAssocID="{D3A06FFA-B026-4CE0-A24B-277A9DE92219}" presName="desTx" presStyleLbl="revTx" presStyleIdx="5" presStyleCnt="12">
        <dgm:presLayoutVars>
          <dgm:bulletEnabled val="1"/>
        </dgm:presLayoutVars>
      </dgm:prSet>
      <dgm:spPr/>
    </dgm:pt>
    <dgm:pt modelId="{E68857AB-2C3F-4AF4-AF94-6326474A3E5E}" type="pres">
      <dgm:prSet presAssocID="{D3A06FFA-B026-4CE0-A24B-277A9DE92219}" presName="desBackupRightNorm" presStyleCnt="0"/>
      <dgm:spPr/>
    </dgm:pt>
    <dgm:pt modelId="{F295E1FE-7BC0-4A6F-ADA2-FFEC32837FA2}" type="pres">
      <dgm:prSet presAssocID="{69DFEA23-CF6C-4E5B-ABF1-D0C472A342BE}" presName="desSpace" presStyleCnt="0"/>
      <dgm:spPr/>
    </dgm:pt>
    <dgm:pt modelId="{4806E6D8-E53B-49EA-857C-53135285DEE2}" type="pres">
      <dgm:prSet presAssocID="{5F65246D-4E61-4CDF-9578-AD42A3F5B91C}" presName="desBackupLeftNorm" presStyleCnt="0"/>
      <dgm:spPr/>
    </dgm:pt>
    <dgm:pt modelId="{D14513E1-0679-4821-BDD5-11607524F4EB}" type="pres">
      <dgm:prSet presAssocID="{5F65246D-4E61-4CDF-9578-AD42A3F5B91C}" presName="desComposite" presStyleCnt="0"/>
      <dgm:spPr/>
    </dgm:pt>
    <dgm:pt modelId="{BE3D4741-6D6A-4676-BB4A-25D36E1E2ACE}" type="pres">
      <dgm:prSet presAssocID="{5F65246D-4E61-4CDF-9578-AD42A3F5B91C}" presName="desCircle" presStyleLbl="node1" presStyleIdx="2" presStyleCnt="5"/>
      <dgm:spPr>
        <a:solidFill>
          <a:srgbClr val="FFC000"/>
        </a:solidFill>
      </dgm:spPr>
    </dgm:pt>
    <dgm:pt modelId="{76D30138-EDE6-4E07-9858-1FF84B51885C}" type="pres">
      <dgm:prSet presAssocID="{5F65246D-4E61-4CDF-9578-AD42A3F5B91C}" presName="chTx" presStyleLbl="revTx" presStyleIdx="6" presStyleCnt="12"/>
      <dgm:spPr/>
    </dgm:pt>
    <dgm:pt modelId="{59EDD76F-5E91-45E5-A217-EEBDADE3917D}" type="pres">
      <dgm:prSet presAssocID="{5F65246D-4E61-4CDF-9578-AD42A3F5B91C}" presName="desTx" presStyleLbl="revTx" presStyleIdx="7" presStyleCnt="12">
        <dgm:presLayoutVars>
          <dgm:bulletEnabled val="1"/>
        </dgm:presLayoutVars>
      </dgm:prSet>
      <dgm:spPr/>
    </dgm:pt>
    <dgm:pt modelId="{EBD317C0-7E9A-4E9E-94AE-5BF89F74BA73}" type="pres">
      <dgm:prSet presAssocID="{5F65246D-4E61-4CDF-9578-AD42A3F5B91C}" presName="desBackupRightNorm" presStyleCnt="0"/>
      <dgm:spPr/>
    </dgm:pt>
    <dgm:pt modelId="{69139CD5-37EB-415C-B93B-25AFA35CFF8B}" type="pres">
      <dgm:prSet presAssocID="{6BF54432-1C76-4A25-951E-9DD48B77C4D9}" presName="desSpace" presStyleCnt="0"/>
      <dgm:spPr/>
    </dgm:pt>
    <dgm:pt modelId="{1BCC4D69-7D9D-40F4-A67D-E91D2C05F01F}" type="pres">
      <dgm:prSet presAssocID="{B5D1473D-84D3-4F18-9360-22AB091BD486}" presName="desBackupLeftNorm" presStyleCnt="0"/>
      <dgm:spPr/>
    </dgm:pt>
    <dgm:pt modelId="{1FC3F592-3872-4CDB-A7E2-5059356BD19A}" type="pres">
      <dgm:prSet presAssocID="{B5D1473D-84D3-4F18-9360-22AB091BD486}" presName="desComposite" presStyleCnt="0"/>
      <dgm:spPr/>
    </dgm:pt>
    <dgm:pt modelId="{4C7CDBB5-7F62-498D-8714-BDE249F48BD4}" type="pres">
      <dgm:prSet presAssocID="{B5D1473D-84D3-4F18-9360-22AB091BD486}" presName="desCircle" presStyleLbl="node1" presStyleIdx="3" presStyleCnt="5"/>
      <dgm:spPr>
        <a:solidFill>
          <a:srgbClr val="FF9900"/>
        </a:solidFill>
      </dgm:spPr>
    </dgm:pt>
    <dgm:pt modelId="{495BF680-402A-4784-856D-C38DC3132C4A}" type="pres">
      <dgm:prSet presAssocID="{B5D1473D-84D3-4F18-9360-22AB091BD486}" presName="chTx" presStyleLbl="revTx" presStyleIdx="8" presStyleCnt="12"/>
      <dgm:spPr/>
    </dgm:pt>
    <dgm:pt modelId="{4F280412-E9C1-4826-8DF5-6C66FE68F4A6}" type="pres">
      <dgm:prSet presAssocID="{B5D1473D-84D3-4F18-9360-22AB091BD486}" presName="desTx" presStyleLbl="revTx" presStyleIdx="9" presStyleCnt="12">
        <dgm:presLayoutVars>
          <dgm:bulletEnabled val="1"/>
        </dgm:presLayoutVars>
      </dgm:prSet>
      <dgm:spPr/>
    </dgm:pt>
    <dgm:pt modelId="{31A4EDD5-6734-4086-A717-E46AEDBD9336}" type="pres">
      <dgm:prSet presAssocID="{B5D1473D-84D3-4F18-9360-22AB091BD486}" presName="desBackupRightNorm" presStyleCnt="0"/>
      <dgm:spPr/>
    </dgm:pt>
    <dgm:pt modelId="{E352C6EA-A73A-463E-A748-7C9B7EC9CAEC}" type="pres">
      <dgm:prSet presAssocID="{699B74C8-45E3-4B04-8111-11D118D43B80}" presName="desSpace" presStyleCnt="0"/>
      <dgm:spPr/>
    </dgm:pt>
    <dgm:pt modelId="{A4D43CD9-7479-47DF-8DC2-C790DD260FF1}" type="pres">
      <dgm:prSet presAssocID="{2161B720-49F4-4587-8B3E-23060DADB615}" presName="desBackupLeftNorm" presStyleCnt="0"/>
      <dgm:spPr/>
    </dgm:pt>
    <dgm:pt modelId="{51F60187-FC09-42C2-9998-CD35516FF242}" type="pres">
      <dgm:prSet presAssocID="{2161B720-49F4-4587-8B3E-23060DADB615}" presName="desComposite" presStyleCnt="0"/>
      <dgm:spPr/>
    </dgm:pt>
    <dgm:pt modelId="{C9E2F7E4-C883-43EB-BD76-77115CA1956C}" type="pres">
      <dgm:prSet presAssocID="{2161B720-49F4-4587-8B3E-23060DADB615}" presName="desCircle" presStyleLbl="node1" presStyleIdx="4" presStyleCnt="5"/>
      <dgm:spPr>
        <a:solidFill>
          <a:srgbClr val="FF0000"/>
        </a:solidFill>
      </dgm:spPr>
    </dgm:pt>
    <dgm:pt modelId="{8FEA524A-74F6-44A2-86F2-4F0A94CFB5AF}" type="pres">
      <dgm:prSet presAssocID="{2161B720-49F4-4587-8B3E-23060DADB615}" presName="chTx" presStyleLbl="revTx" presStyleIdx="10" presStyleCnt="12"/>
      <dgm:spPr/>
    </dgm:pt>
    <dgm:pt modelId="{EA636DDC-8410-4791-87D9-D2BB63968C8A}" type="pres">
      <dgm:prSet presAssocID="{2161B720-49F4-4587-8B3E-23060DADB615}" presName="desTx" presStyleLbl="revTx" presStyleIdx="11" presStyleCnt="12">
        <dgm:presLayoutVars>
          <dgm:bulletEnabled val="1"/>
        </dgm:presLayoutVars>
      </dgm:prSet>
      <dgm:spPr/>
    </dgm:pt>
    <dgm:pt modelId="{46923AA8-BC5E-4AAC-BE90-DDF9BB366C5A}" type="pres">
      <dgm:prSet presAssocID="{2161B720-49F4-4587-8B3E-23060DADB615}" presName="desBackupRightNorm" presStyleCnt="0"/>
      <dgm:spPr/>
    </dgm:pt>
    <dgm:pt modelId="{C149D0A0-3DC3-428A-A92C-9C9DC92560E0}" type="pres">
      <dgm:prSet presAssocID="{0989FC68-2409-4677-95B1-18C59B855C6B}" presName="desSpace" presStyleCnt="0"/>
      <dgm:spPr/>
    </dgm:pt>
  </dgm:ptLst>
  <dgm:cxnLst>
    <dgm:cxn modelId="{0E758611-DD9F-4751-9BDB-6FDE72BC9FED}" srcId="{E4E6BEAD-455E-484F-844D-27508C3C0B9C}" destId="{2161B720-49F4-4587-8B3E-23060DADB615}" srcOrd="3" destOrd="0" parTransId="{5DF27920-C260-4D6F-BE65-B708D2A1354C}" sibTransId="{0989FC68-2409-4677-95B1-18C59B855C6B}"/>
    <dgm:cxn modelId="{C73E561D-CEBA-414D-BE83-9302BCDA209A}" srcId="{CA761AE4-81EE-4599-8DEE-35EA81D7FA58}" destId="{E0B1BA0E-2F54-4FE4-821C-0652AA139CA3}" srcOrd="0" destOrd="0" parTransId="{1102CBD0-F447-45DE-BE69-845A6CBD3853}" sibTransId="{BB1797EA-EE67-4159-8B73-D2E3AC048AB8}"/>
    <dgm:cxn modelId="{3254295B-A9A5-4904-857E-6F0CCF5F6F0E}" srcId="{E0B1BA0E-2F54-4FE4-821C-0652AA139CA3}" destId="{11F27F85-9CF5-44CF-8F81-A69C99AEBB43}" srcOrd="0" destOrd="0" parTransId="{42C45420-0C08-4132-9A02-9374BCDADD77}" sibTransId="{DDCDE96F-B60B-4B91-9BFC-44A3F5F216EF}"/>
    <dgm:cxn modelId="{3578144C-4894-46C6-A04E-7B6007CB2D75}" type="presOf" srcId="{D3A06FFA-B026-4CE0-A24B-277A9DE92219}" destId="{3D8DBB6F-7150-4B10-9FCF-00D9AAD86A2E}" srcOrd="0" destOrd="0" presId="urn:microsoft.com/office/officeart/2008/layout/CircleAccentTimeline"/>
    <dgm:cxn modelId="{B1D7E854-28B2-48D1-97F7-A5EDB537D7F8}" type="presOf" srcId="{E4E6BEAD-455E-484F-844D-27508C3C0B9C}" destId="{0E2A2977-64E1-4279-8804-9392B4FB27ED}" srcOrd="0" destOrd="0" presId="urn:microsoft.com/office/officeart/2008/layout/CircleAccentTimeline"/>
    <dgm:cxn modelId="{0D94E056-AB15-47D8-9045-31756A2A73CB}" srcId="{CA761AE4-81EE-4599-8DEE-35EA81D7FA58}" destId="{E4E6BEAD-455E-484F-844D-27508C3C0B9C}" srcOrd="1" destOrd="0" parTransId="{002E04A7-EBFD-410D-A85E-903C6A1ED79D}" sibTransId="{42063287-1AFA-4F23-9CA4-2E9E51E70DD5}"/>
    <dgm:cxn modelId="{F1DBBE78-B5D6-4C28-831A-EF4080FC9B36}" srcId="{E4E6BEAD-455E-484F-844D-27508C3C0B9C}" destId="{D3A06FFA-B026-4CE0-A24B-277A9DE92219}" srcOrd="0" destOrd="0" parTransId="{74D4F649-4740-4AFB-9881-56A5AFE05006}" sibTransId="{69DFEA23-CF6C-4E5B-ABF1-D0C472A342BE}"/>
    <dgm:cxn modelId="{3887E27A-AF15-49EF-9147-4FAFD09700B6}" type="presOf" srcId="{E0B1BA0E-2F54-4FE4-821C-0652AA139CA3}" destId="{213CB293-0FE7-4525-9F0A-41A1BE592887}" srcOrd="0" destOrd="0" presId="urn:microsoft.com/office/officeart/2008/layout/CircleAccentTimeline"/>
    <dgm:cxn modelId="{38F803A4-7B2E-4E31-9E7C-76728E529833}" type="presOf" srcId="{5F65246D-4E61-4CDF-9578-AD42A3F5B91C}" destId="{76D30138-EDE6-4E07-9858-1FF84B51885C}" srcOrd="0" destOrd="0" presId="urn:microsoft.com/office/officeart/2008/layout/CircleAccentTimeline"/>
    <dgm:cxn modelId="{E6600AA4-F745-4F2E-8303-3F2A356AE2A2}" srcId="{E4E6BEAD-455E-484F-844D-27508C3C0B9C}" destId="{B5D1473D-84D3-4F18-9360-22AB091BD486}" srcOrd="2" destOrd="0" parTransId="{20185478-2D53-427C-9DC1-4B160C1F8F58}" sibTransId="{699B74C8-45E3-4B04-8111-11D118D43B80}"/>
    <dgm:cxn modelId="{25A9BAAF-036E-42E5-87E6-F3670DD8BCEA}" type="presOf" srcId="{CA761AE4-81EE-4599-8DEE-35EA81D7FA58}" destId="{3036B8AB-FAD3-46E3-8D41-19381E1E3B23}" srcOrd="0" destOrd="0" presId="urn:microsoft.com/office/officeart/2008/layout/CircleAccentTimeline"/>
    <dgm:cxn modelId="{FE7B67BB-B2E7-4015-B3D0-231E86716003}" type="presOf" srcId="{2161B720-49F4-4587-8B3E-23060DADB615}" destId="{8FEA524A-74F6-44A2-86F2-4F0A94CFB5AF}" srcOrd="0" destOrd="0" presId="urn:microsoft.com/office/officeart/2008/layout/CircleAccentTimeline"/>
    <dgm:cxn modelId="{372B06C3-1961-407B-8205-39B5BD6BB52C}" srcId="{E4E6BEAD-455E-484F-844D-27508C3C0B9C}" destId="{5F65246D-4E61-4CDF-9578-AD42A3F5B91C}" srcOrd="1" destOrd="0" parTransId="{2442798B-8E56-4088-ADCD-4751349509EB}" sibTransId="{6BF54432-1C76-4A25-951E-9DD48B77C4D9}"/>
    <dgm:cxn modelId="{1BC9F4D2-04CF-42B2-930C-4F5048B2BC12}" type="presOf" srcId="{11F27F85-9CF5-44CF-8F81-A69C99AEBB43}" destId="{809B394D-79A6-4E5F-81DA-60261B2F4021}" srcOrd="0" destOrd="0" presId="urn:microsoft.com/office/officeart/2008/layout/CircleAccentTimeline"/>
    <dgm:cxn modelId="{661929F0-20C6-4A50-A216-B9313CE6A063}" type="presOf" srcId="{B5D1473D-84D3-4F18-9360-22AB091BD486}" destId="{495BF680-402A-4784-856D-C38DC3132C4A}" srcOrd="0" destOrd="0" presId="urn:microsoft.com/office/officeart/2008/layout/CircleAccentTimeline"/>
    <dgm:cxn modelId="{4565E86A-C4CC-43EE-9772-470D94D5D753}" type="presParOf" srcId="{3036B8AB-FAD3-46E3-8D41-19381E1E3B23}" destId="{3DEC061C-4A1A-4CFB-BE83-D467B61896EE}" srcOrd="0" destOrd="0" presId="urn:microsoft.com/office/officeart/2008/layout/CircleAccentTimeline"/>
    <dgm:cxn modelId="{59157FE6-6E72-4497-ABD6-AE75B23037D7}" type="presParOf" srcId="{3DEC061C-4A1A-4CFB-BE83-D467B61896EE}" destId="{ADBEF2CA-4E97-4013-BECE-41EE8364607D}" srcOrd="0" destOrd="0" presId="urn:microsoft.com/office/officeart/2008/layout/CircleAccentTimeline"/>
    <dgm:cxn modelId="{31FFC21D-35AE-4504-970B-E7C3D7F9A7DE}" type="presParOf" srcId="{3DEC061C-4A1A-4CFB-BE83-D467B61896EE}" destId="{213CB293-0FE7-4525-9F0A-41A1BE592887}" srcOrd="1" destOrd="0" presId="urn:microsoft.com/office/officeart/2008/layout/CircleAccentTimeline"/>
    <dgm:cxn modelId="{D5B3831C-AA81-431D-A5E9-F67C69304C52}" type="presParOf" srcId="{3DEC061C-4A1A-4CFB-BE83-D467B61896EE}" destId="{46F375DD-238E-476B-802A-ACB3950E4ECB}" srcOrd="2" destOrd="0" presId="urn:microsoft.com/office/officeart/2008/layout/CircleAccentTimeline"/>
    <dgm:cxn modelId="{A8824C46-2A95-4FB8-B76C-913594CBA729}" type="presParOf" srcId="{3036B8AB-FAD3-46E3-8D41-19381E1E3B23}" destId="{B8914739-A04B-45DE-A830-FD959FCB951A}" srcOrd="1" destOrd="0" presId="urn:microsoft.com/office/officeart/2008/layout/CircleAccentTimeline"/>
    <dgm:cxn modelId="{B9BAD7A1-0427-41D3-A5B1-AF6EB97F0AD9}" type="presParOf" srcId="{3036B8AB-FAD3-46E3-8D41-19381E1E3B23}" destId="{4E560C4B-F838-4532-9D84-950FBC2008C3}" srcOrd="2" destOrd="0" presId="urn:microsoft.com/office/officeart/2008/layout/CircleAccentTimeline"/>
    <dgm:cxn modelId="{EAE0EA9F-C543-491E-8F53-61439FC36914}" type="presParOf" srcId="{3036B8AB-FAD3-46E3-8D41-19381E1E3B23}" destId="{AC522960-E4E8-4D2D-A4B0-D1CB3BD57787}" srcOrd="3" destOrd="0" presId="urn:microsoft.com/office/officeart/2008/layout/CircleAccentTimeline"/>
    <dgm:cxn modelId="{D4DEC5B0-285E-4A7A-AF3D-475CE269A438}" type="presParOf" srcId="{3036B8AB-FAD3-46E3-8D41-19381E1E3B23}" destId="{1B27B291-6396-41ED-84AF-AC4AEB01742F}" srcOrd="4" destOrd="0" presId="urn:microsoft.com/office/officeart/2008/layout/CircleAccentTimeline"/>
    <dgm:cxn modelId="{521D24F9-0A76-402B-8723-6071E0EDA1F4}" type="presParOf" srcId="{1B27B291-6396-41ED-84AF-AC4AEB01742F}" destId="{BFFD1C97-79DB-4068-B9EE-1F2EFE666EF1}" srcOrd="0" destOrd="0" presId="urn:microsoft.com/office/officeart/2008/layout/CircleAccentTimeline"/>
    <dgm:cxn modelId="{DFE8715E-AC3E-4A88-973E-E054191DE041}" type="presParOf" srcId="{1B27B291-6396-41ED-84AF-AC4AEB01742F}" destId="{809B394D-79A6-4E5F-81DA-60261B2F4021}" srcOrd="1" destOrd="0" presId="urn:microsoft.com/office/officeart/2008/layout/CircleAccentTimeline"/>
    <dgm:cxn modelId="{3BD00065-B0E7-4CEC-83EE-87BCAB2C39E0}" type="presParOf" srcId="{1B27B291-6396-41ED-84AF-AC4AEB01742F}" destId="{7452ADB3-2078-4DF6-B4C0-DC813575339A}" srcOrd="2" destOrd="0" presId="urn:microsoft.com/office/officeart/2008/layout/CircleAccentTimeline"/>
    <dgm:cxn modelId="{34C640AD-6890-4ABA-BC3B-94EE6760578B}" type="presParOf" srcId="{3036B8AB-FAD3-46E3-8D41-19381E1E3B23}" destId="{BFC0F9A4-BDE3-47F5-B6DE-A6CC69328E5C}" srcOrd="5" destOrd="0" presId="urn:microsoft.com/office/officeart/2008/layout/CircleAccentTimeline"/>
    <dgm:cxn modelId="{10834A5D-0370-4B91-B833-979F7C2D8328}" type="presParOf" srcId="{3036B8AB-FAD3-46E3-8D41-19381E1E3B23}" destId="{E4A8DC88-8CB9-4D67-8818-B47843D70B8C}" srcOrd="6" destOrd="0" presId="urn:microsoft.com/office/officeart/2008/layout/CircleAccentTimeline"/>
    <dgm:cxn modelId="{03E00A84-11B5-4BDB-A066-26B75E5C67D9}" type="presParOf" srcId="{3036B8AB-FAD3-46E3-8D41-19381E1E3B23}" destId="{C4DC36F4-84C9-41DE-AB29-50605F3D3B19}" srcOrd="7" destOrd="0" presId="urn:microsoft.com/office/officeart/2008/layout/CircleAccentTimeline"/>
    <dgm:cxn modelId="{B748B6DD-A2E0-4DB5-821C-655566BEFDD8}" type="presParOf" srcId="{C4DC36F4-84C9-41DE-AB29-50605F3D3B19}" destId="{A1DD86DC-5CE0-4A91-8ABD-60F1AC640F94}" srcOrd="0" destOrd="0" presId="urn:microsoft.com/office/officeart/2008/layout/CircleAccentTimeline"/>
    <dgm:cxn modelId="{FB3F7954-2285-40B6-89C4-0D5312EBEE34}" type="presParOf" srcId="{C4DC36F4-84C9-41DE-AB29-50605F3D3B19}" destId="{0E2A2977-64E1-4279-8804-9392B4FB27ED}" srcOrd="1" destOrd="0" presId="urn:microsoft.com/office/officeart/2008/layout/CircleAccentTimeline"/>
    <dgm:cxn modelId="{4D8ABB4F-A731-4948-8296-05660962A50B}" type="presParOf" srcId="{C4DC36F4-84C9-41DE-AB29-50605F3D3B19}" destId="{512E003D-EFC8-41F6-A11A-4B4A576D627C}" srcOrd="2" destOrd="0" presId="urn:microsoft.com/office/officeart/2008/layout/CircleAccentTimeline"/>
    <dgm:cxn modelId="{8A539716-0BC4-4211-83B4-34AD060D418A}" type="presParOf" srcId="{3036B8AB-FAD3-46E3-8D41-19381E1E3B23}" destId="{9F55A7BB-80BF-4E2B-BD78-339D1137835B}" srcOrd="8" destOrd="0" presId="urn:microsoft.com/office/officeart/2008/layout/CircleAccentTimeline"/>
    <dgm:cxn modelId="{40D04E58-BAD3-4F73-8F2B-31DEE85C2655}" type="presParOf" srcId="{3036B8AB-FAD3-46E3-8D41-19381E1E3B23}" destId="{F60539D1-6F27-4BFA-A005-1385A1DEFAEC}" srcOrd="9" destOrd="0" presId="urn:microsoft.com/office/officeart/2008/layout/CircleAccentTimeline"/>
    <dgm:cxn modelId="{7B0C1D1E-16CC-4235-A4E7-3A896E2A8BB6}" type="presParOf" srcId="{3036B8AB-FAD3-46E3-8D41-19381E1E3B23}" destId="{14C0F7BB-CDE3-4E76-8F18-16C8AC48A822}" srcOrd="10" destOrd="0" presId="urn:microsoft.com/office/officeart/2008/layout/CircleAccentTimeline"/>
    <dgm:cxn modelId="{8D57F018-A48A-42FD-BF64-3CF31FE2981B}" type="presParOf" srcId="{3036B8AB-FAD3-46E3-8D41-19381E1E3B23}" destId="{F74126DA-37C8-410A-8093-E555AF1B8F85}" srcOrd="11" destOrd="0" presId="urn:microsoft.com/office/officeart/2008/layout/CircleAccentTimeline"/>
    <dgm:cxn modelId="{DAC9DED5-D6B7-4928-BE31-EA5790D4DF6E}" type="presParOf" srcId="{F74126DA-37C8-410A-8093-E555AF1B8F85}" destId="{BAB54BC1-DBDB-4692-8B9A-C81129A4AA0D}" srcOrd="0" destOrd="0" presId="urn:microsoft.com/office/officeart/2008/layout/CircleAccentTimeline"/>
    <dgm:cxn modelId="{24501133-403A-4DDD-801F-28ACA9DBF4CD}" type="presParOf" srcId="{F74126DA-37C8-410A-8093-E555AF1B8F85}" destId="{3D8DBB6F-7150-4B10-9FCF-00D9AAD86A2E}" srcOrd="1" destOrd="0" presId="urn:microsoft.com/office/officeart/2008/layout/CircleAccentTimeline"/>
    <dgm:cxn modelId="{BD725173-10E5-4E89-8D62-8C86F7E30FB4}" type="presParOf" srcId="{F74126DA-37C8-410A-8093-E555AF1B8F85}" destId="{2A99CE41-994D-4383-A778-4CDBA1815548}" srcOrd="2" destOrd="0" presId="urn:microsoft.com/office/officeart/2008/layout/CircleAccentTimeline"/>
    <dgm:cxn modelId="{8E21DED2-0868-4BC1-909F-573C9918163C}" type="presParOf" srcId="{3036B8AB-FAD3-46E3-8D41-19381E1E3B23}" destId="{E68857AB-2C3F-4AF4-AF94-6326474A3E5E}" srcOrd="12" destOrd="0" presId="urn:microsoft.com/office/officeart/2008/layout/CircleAccentTimeline"/>
    <dgm:cxn modelId="{7FE55078-4724-4B98-A086-84BFB4BBED1A}" type="presParOf" srcId="{3036B8AB-FAD3-46E3-8D41-19381E1E3B23}" destId="{F295E1FE-7BC0-4A6F-ADA2-FFEC32837FA2}" srcOrd="13" destOrd="0" presId="urn:microsoft.com/office/officeart/2008/layout/CircleAccentTimeline"/>
    <dgm:cxn modelId="{43794DC5-4FBE-440D-AC25-CE9BF41DC917}" type="presParOf" srcId="{3036B8AB-FAD3-46E3-8D41-19381E1E3B23}" destId="{4806E6D8-E53B-49EA-857C-53135285DEE2}" srcOrd="14" destOrd="0" presId="urn:microsoft.com/office/officeart/2008/layout/CircleAccentTimeline"/>
    <dgm:cxn modelId="{ECA174B2-B11F-4D2D-8759-0031689B7E2F}" type="presParOf" srcId="{3036B8AB-FAD3-46E3-8D41-19381E1E3B23}" destId="{D14513E1-0679-4821-BDD5-11607524F4EB}" srcOrd="15" destOrd="0" presId="urn:microsoft.com/office/officeart/2008/layout/CircleAccentTimeline"/>
    <dgm:cxn modelId="{C60D987F-2990-4952-8F3F-37EFF15AD007}" type="presParOf" srcId="{D14513E1-0679-4821-BDD5-11607524F4EB}" destId="{BE3D4741-6D6A-4676-BB4A-25D36E1E2ACE}" srcOrd="0" destOrd="0" presId="urn:microsoft.com/office/officeart/2008/layout/CircleAccentTimeline"/>
    <dgm:cxn modelId="{279DE6F3-AE91-460C-8360-6AFB5D847098}" type="presParOf" srcId="{D14513E1-0679-4821-BDD5-11607524F4EB}" destId="{76D30138-EDE6-4E07-9858-1FF84B51885C}" srcOrd="1" destOrd="0" presId="urn:microsoft.com/office/officeart/2008/layout/CircleAccentTimeline"/>
    <dgm:cxn modelId="{141C252C-8248-45D9-8555-92BB68A7FE12}" type="presParOf" srcId="{D14513E1-0679-4821-BDD5-11607524F4EB}" destId="{59EDD76F-5E91-45E5-A217-EEBDADE3917D}" srcOrd="2" destOrd="0" presId="urn:microsoft.com/office/officeart/2008/layout/CircleAccentTimeline"/>
    <dgm:cxn modelId="{E2940F16-DD86-4374-9FE8-934E045DD5FE}" type="presParOf" srcId="{3036B8AB-FAD3-46E3-8D41-19381E1E3B23}" destId="{EBD317C0-7E9A-4E9E-94AE-5BF89F74BA73}" srcOrd="16" destOrd="0" presId="urn:microsoft.com/office/officeart/2008/layout/CircleAccentTimeline"/>
    <dgm:cxn modelId="{13BE907F-6EA0-40A6-9B3D-93FD1D00BF7D}" type="presParOf" srcId="{3036B8AB-FAD3-46E3-8D41-19381E1E3B23}" destId="{69139CD5-37EB-415C-B93B-25AFA35CFF8B}" srcOrd="17" destOrd="0" presId="urn:microsoft.com/office/officeart/2008/layout/CircleAccentTimeline"/>
    <dgm:cxn modelId="{59325287-4B8B-4860-A878-1081D3D5462B}" type="presParOf" srcId="{3036B8AB-FAD3-46E3-8D41-19381E1E3B23}" destId="{1BCC4D69-7D9D-40F4-A67D-E91D2C05F01F}" srcOrd="18" destOrd="0" presId="urn:microsoft.com/office/officeart/2008/layout/CircleAccentTimeline"/>
    <dgm:cxn modelId="{A6CAB92C-D5D9-4B4C-ADD1-71B1888165FE}" type="presParOf" srcId="{3036B8AB-FAD3-46E3-8D41-19381E1E3B23}" destId="{1FC3F592-3872-4CDB-A7E2-5059356BD19A}" srcOrd="19" destOrd="0" presId="urn:microsoft.com/office/officeart/2008/layout/CircleAccentTimeline"/>
    <dgm:cxn modelId="{CFDB9B93-C6DA-4ACE-AE36-434EE6C04975}" type="presParOf" srcId="{1FC3F592-3872-4CDB-A7E2-5059356BD19A}" destId="{4C7CDBB5-7F62-498D-8714-BDE249F48BD4}" srcOrd="0" destOrd="0" presId="urn:microsoft.com/office/officeart/2008/layout/CircleAccentTimeline"/>
    <dgm:cxn modelId="{2371B6CA-D08F-47C6-A0CD-5C9F74F193D9}" type="presParOf" srcId="{1FC3F592-3872-4CDB-A7E2-5059356BD19A}" destId="{495BF680-402A-4784-856D-C38DC3132C4A}" srcOrd="1" destOrd="0" presId="urn:microsoft.com/office/officeart/2008/layout/CircleAccentTimeline"/>
    <dgm:cxn modelId="{138F9E27-ADF0-404B-9B9E-EFB14631A7E8}" type="presParOf" srcId="{1FC3F592-3872-4CDB-A7E2-5059356BD19A}" destId="{4F280412-E9C1-4826-8DF5-6C66FE68F4A6}" srcOrd="2" destOrd="0" presId="urn:microsoft.com/office/officeart/2008/layout/CircleAccentTimeline"/>
    <dgm:cxn modelId="{4F445366-1874-41E7-9902-D0EE4A4A7ED6}" type="presParOf" srcId="{3036B8AB-FAD3-46E3-8D41-19381E1E3B23}" destId="{31A4EDD5-6734-4086-A717-E46AEDBD9336}" srcOrd="20" destOrd="0" presId="urn:microsoft.com/office/officeart/2008/layout/CircleAccentTimeline"/>
    <dgm:cxn modelId="{1B6E6399-857F-4968-B056-266BFFB4D755}" type="presParOf" srcId="{3036B8AB-FAD3-46E3-8D41-19381E1E3B23}" destId="{E352C6EA-A73A-463E-A748-7C9B7EC9CAEC}" srcOrd="21" destOrd="0" presId="urn:microsoft.com/office/officeart/2008/layout/CircleAccentTimeline"/>
    <dgm:cxn modelId="{AB99384A-07C1-4924-B56B-DB3F46E557F0}" type="presParOf" srcId="{3036B8AB-FAD3-46E3-8D41-19381E1E3B23}" destId="{A4D43CD9-7479-47DF-8DC2-C790DD260FF1}" srcOrd="22" destOrd="0" presId="urn:microsoft.com/office/officeart/2008/layout/CircleAccentTimeline"/>
    <dgm:cxn modelId="{253735F5-F655-4FDA-B320-C3E65C566521}" type="presParOf" srcId="{3036B8AB-FAD3-46E3-8D41-19381E1E3B23}" destId="{51F60187-FC09-42C2-9998-CD35516FF242}" srcOrd="23" destOrd="0" presId="urn:microsoft.com/office/officeart/2008/layout/CircleAccentTimeline"/>
    <dgm:cxn modelId="{7D2811D0-0489-43AA-B4EA-6D6CB87F876B}" type="presParOf" srcId="{51F60187-FC09-42C2-9998-CD35516FF242}" destId="{C9E2F7E4-C883-43EB-BD76-77115CA1956C}" srcOrd="0" destOrd="0" presId="urn:microsoft.com/office/officeart/2008/layout/CircleAccentTimeline"/>
    <dgm:cxn modelId="{46950CED-2CC5-4623-B5BA-6498F8970350}" type="presParOf" srcId="{51F60187-FC09-42C2-9998-CD35516FF242}" destId="{8FEA524A-74F6-44A2-86F2-4F0A94CFB5AF}" srcOrd="1" destOrd="0" presId="urn:microsoft.com/office/officeart/2008/layout/CircleAccentTimeline"/>
    <dgm:cxn modelId="{4767A36F-128A-4B11-9B9B-CAA0C9D7F4C0}" type="presParOf" srcId="{51F60187-FC09-42C2-9998-CD35516FF242}" destId="{EA636DDC-8410-4791-87D9-D2BB63968C8A}" srcOrd="2" destOrd="0" presId="urn:microsoft.com/office/officeart/2008/layout/CircleAccentTimeline"/>
    <dgm:cxn modelId="{1A0BB4E4-D34D-4BB4-87D2-03ACDBF3D06F}" type="presParOf" srcId="{3036B8AB-FAD3-46E3-8D41-19381E1E3B23}" destId="{46923AA8-BC5E-4AAC-BE90-DDF9BB366C5A}" srcOrd="24" destOrd="0" presId="urn:microsoft.com/office/officeart/2008/layout/CircleAccentTimeline"/>
    <dgm:cxn modelId="{4441DF21-F0FD-4BE0-B09A-DB055003316F}" type="presParOf" srcId="{3036B8AB-FAD3-46E3-8D41-19381E1E3B23}" destId="{C149D0A0-3DC3-428A-A92C-9C9DC92560E0}" srcOrd="25" destOrd="0" presId="urn:microsoft.com/office/officeart/2008/layout/CircleAccentTimeline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A761AE4-81EE-4599-8DEE-35EA81D7FA58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0B1BA0E-2F54-4FE4-821C-0652AA139CA3}">
      <dgm:prSet phldrT="[Text]"/>
      <dgm:spPr/>
      <dgm:t>
        <a:bodyPr/>
        <a:lstStyle/>
        <a:p>
          <a:r>
            <a:rPr lang="en-GB">
              <a:solidFill>
                <a:schemeClr val="accent6"/>
              </a:solidFill>
              <a:latin typeface="NBS Light"/>
            </a:rPr>
            <a:t>Formal project methodology</a:t>
          </a:r>
        </a:p>
      </dgm:t>
    </dgm:pt>
    <dgm:pt modelId="{1102CBD0-F447-45DE-BE69-845A6CBD3853}" type="parTrans" cxnId="{C73E561D-CEBA-414D-BE83-9302BCDA209A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BB1797EA-EE67-4159-8B73-D2E3AC048AB8}" type="sibTrans" cxnId="{C73E561D-CEBA-414D-BE83-9302BCDA209A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E4E6BEAD-455E-484F-844D-27508C3C0B9C}">
      <dgm:prSet phldrT="[Text]"/>
      <dgm:spPr/>
      <dgm:t>
        <a:bodyPr/>
        <a:lstStyle/>
        <a:p>
          <a:r>
            <a:rPr lang="en-GB">
              <a:solidFill>
                <a:schemeClr val="accent6"/>
              </a:solidFill>
              <a:latin typeface="NBS Light"/>
            </a:rPr>
            <a:t>Adaptive Change Framework</a:t>
          </a:r>
        </a:p>
      </dgm:t>
    </dgm:pt>
    <dgm:pt modelId="{002E04A7-EBFD-410D-A85E-903C6A1ED79D}" type="parTrans" cxnId="{0D94E056-AB15-47D8-9045-31756A2A73CB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42063287-1AFA-4F23-9CA4-2E9E51E70DD5}" type="sibTrans" cxnId="{0D94E056-AB15-47D8-9045-31756A2A73CB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D3A06FFA-B026-4CE0-A24B-277A9DE92219}">
      <dgm:prSet phldrT="[Text]"/>
      <dgm:spPr/>
      <dgm:t>
        <a:bodyPr/>
        <a:lstStyle/>
        <a:p>
          <a:r>
            <a:rPr lang="en-GB">
              <a:solidFill>
                <a:schemeClr val="accent6"/>
              </a:solidFill>
              <a:latin typeface="NBS Light"/>
            </a:rPr>
            <a:t>Standards</a:t>
          </a:r>
        </a:p>
      </dgm:t>
    </dgm:pt>
    <dgm:pt modelId="{74D4F649-4740-4AFB-9881-56A5AFE05006}" type="parTrans" cxnId="{F1DBBE78-B5D6-4C28-831A-EF4080FC9B36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69DFEA23-CF6C-4E5B-ABF1-D0C472A342BE}" type="sibTrans" cxnId="{F1DBBE78-B5D6-4C28-831A-EF4080FC9B36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E65CCDFE-2748-4AC4-8BD5-90FE1E4531B0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4000" b="1" kern="1200">
              <a:solidFill>
                <a:srgbClr val="000000"/>
              </a:solidFill>
              <a:latin typeface="NBS Light"/>
              <a:ea typeface="+mn-ea"/>
              <a:cs typeface="+mn-cs"/>
            </a:rPr>
            <a:t>Intelligent</a:t>
          </a:r>
          <a:r>
            <a:rPr lang="en-GB" sz="2800" b="1" kern="1200">
              <a:solidFill>
                <a:schemeClr val="accent6"/>
              </a:solidFill>
              <a:latin typeface="NBS Light"/>
            </a:rPr>
            <a:t> </a:t>
          </a:r>
          <a:r>
            <a:rPr lang="en-GB" sz="4000" b="1" kern="1200">
              <a:solidFill>
                <a:srgbClr val="000000"/>
              </a:solidFill>
              <a:latin typeface="NBS Light"/>
              <a:ea typeface="+mn-ea"/>
              <a:cs typeface="+mn-cs"/>
            </a:rPr>
            <a:t>Control</a:t>
          </a:r>
          <a:r>
            <a:rPr lang="en-GB" sz="2800" b="1" kern="1200">
              <a:solidFill>
                <a:schemeClr val="accent6"/>
              </a:solidFill>
              <a:latin typeface="NBS Light"/>
            </a:rPr>
            <a:t> </a:t>
          </a:r>
          <a:r>
            <a:rPr lang="en-GB" sz="4000" b="1" kern="1200">
              <a:solidFill>
                <a:srgbClr val="000000"/>
              </a:solidFill>
              <a:latin typeface="NBS Light"/>
              <a:ea typeface="+mn-ea"/>
              <a:cs typeface="+mn-cs"/>
            </a:rPr>
            <a:t>Needed</a:t>
          </a:r>
          <a:r>
            <a:rPr lang="en-GB" sz="2800" b="1" kern="1200">
              <a:solidFill>
                <a:schemeClr val="accent6"/>
              </a:solidFill>
              <a:latin typeface="NBS Light"/>
            </a:rPr>
            <a:t>!</a:t>
          </a:r>
        </a:p>
      </dgm:t>
    </dgm:pt>
    <dgm:pt modelId="{FE9739A3-C6E0-49EC-A25C-89527497E9C2}" type="parTrans" cxnId="{BAF302EE-5650-4FB4-8505-A828BC707166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BD9BFB69-1676-4DB2-9913-471A1D41807D}" type="sibTrans" cxnId="{BAF302EE-5650-4FB4-8505-A828BC707166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5F65246D-4E61-4CDF-9578-AD42A3F5B91C}">
      <dgm:prSet phldrT="[Text]"/>
      <dgm:spPr/>
      <dgm:t>
        <a:bodyPr/>
        <a:lstStyle/>
        <a:p>
          <a:r>
            <a:rPr lang="en-GB">
              <a:solidFill>
                <a:schemeClr val="accent6"/>
              </a:solidFill>
              <a:latin typeface="NBS Light"/>
            </a:rPr>
            <a:t>Guardrails</a:t>
          </a:r>
        </a:p>
      </dgm:t>
    </dgm:pt>
    <dgm:pt modelId="{2442798B-8E56-4088-ADCD-4751349509EB}" type="parTrans" cxnId="{372B06C3-1961-407B-8205-39B5BD6BB52C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6BF54432-1C76-4A25-951E-9DD48B77C4D9}" type="sibTrans" cxnId="{372B06C3-1961-407B-8205-39B5BD6BB52C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B5D1473D-84D3-4F18-9360-22AB091BD486}">
      <dgm:prSet phldrT="[Text]"/>
      <dgm:spPr/>
      <dgm:t>
        <a:bodyPr/>
        <a:lstStyle/>
        <a:p>
          <a:r>
            <a:rPr lang="en-GB">
              <a:solidFill>
                <a:schemeClr val="accent6"/>
              </a:solidFill>
              <a:latin typeface="NBS Light"/>
            </a:rPr>
            <a:t>Checklists</a:t>
          </a:r>
        </a:p>
      </dgm:t>
    </dgm:pt>
    <dgm:pt modelId="{20185478-2D53-427C-9DC1-4B160C1F8F58}" type="parTrans" cxnId="{E6600AA4-F745-4F2E-8303-3F2A356AE2A2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699B74C8-45E3-4B04-8111-11D118D43B80}" type="sibTrans" cxnId="{E6600AA4-F745-4F2E-8303-3F2A356AE2A2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2161B720-49F4-4587-8B3E-23060DADB615}">
      <dgm:prSet phldrT="[Text]"/>
      <dgm:spPr>
        <a:solidFill>
          <a:schemeClr val="bg1"/>
        </a:solidFill>
      </dgm:spPr>
      <dgm:t>
        <a:bodyPr/>
        <a:lstStyle/>
        <a:p>
          <a:r>
            <a:rPr lang="en-GB">
              <a:solidFill>
                <a:schemeClr val="accent6"/>
              </a:solidFill>
              <a:latin typeface="NBS Light"/>
            </a:rPr>
            <a:t>Assessments</a:t>
          </a:r>
        </a:p>
      </dgm:t>
    </dgm:pt>
    <dgm:pt modelId="{5DF27920-C260-4D6F-BE65-B708D2A1354C}" type="parTrans" cxnId="{0E758611-DD9F-4751-9BDB-6FDE72BC9FED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0989FC68-2409-4677-95B1-18C59B855C6B}" type="sibTrans" cxnId="{0E758611-DD9F-4751-9BDB-6FDE72BC9FED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11F27F85-9CF5-44CF-8F81-A69C99AEBB43}">
      <dgm:prSet phldrT="[Text]"/>
      <dgm:spPr/>
      <dgm:t>
        <a:bodyPr/>
        <a:lstStyle/>
        <a:p>
          <a:r>
            <a:rPr lang="en-GB">
              <a:solidFill>
                <a:schemeClr val="accent6"/>
              </a:solidFill>
              <a:latin typeface="NBS Light"/>
            </a:rPr>
            <a:t>Early Agile Successes</a:t>
          </a:r>
        </a:p>
      </dgm:t>
    </dgm:pt>
    <dgm:pt modelId="{42C45420-0C08-4132-9A02-9374BCDADD77}" type="parTrans" cxnId="{3254295B-A9A5-4904-857E-6F0CCF5F6F0E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DDCDE96F-B60B-4B91-9BFC-44A3F5F216EF}" type="sibTrans" cxnId="{3254295B-A9A5-4904-857E-6F0CCF5F6F0E}">
      <dgm:prSet/>
      <dgm:spPr/>
      <dgm:t>
        <a:bodyPr/>
        <a:lstStyle/>
        <a:p>
          <a:endParaRPr lang="en-GB">
            <a:solidFill>
              <a:schemeClr val="accent6"/>
            </a:solidFill>
          </a:endParaRPr>
        </a:p>
      </dgm:t>
    </dgm:pt>
    <dgm:pt modelId="{3036B8AB-FAD3-46E3-8D41-19381E1E3B23}" type="pres">
      <dgm:prSet presAssocID="{CA761AE4-81EE-4599-8DEE-35EA81D7FA58}" presName="Name0" presStyleCnt="0">
        <dgm:presLayoutVars>
          <dgm:dir/>
        </dgm:presLayoutVars>
      </dgm:prSet>
      <dgm:spPr/>
    </dgm:pt>
    <dgm:pt modelId="{3DEC061C-4A1A-4CFB-BE83-D467B61896EE}" type="pres">
      <dgm:prSet presAssocID="{E0B1BA0E-2F54-4FE4-821C-0652AA139CA3}" presName="parComposite" presStyleCnt="0"/>
      <dgm:spPr/>
    </dgm:pt>
    <dgm:pt modelId="{ADBEF2CA-4E97-4013-BECE-41EE8364607D}" type="pres">
      <dgm:prSet presAssocID="{E0B1BA0E-2F54-4FE4-821C-0652AA139CA3}" presName="parBigCircle" presStyleLbl="node0" presStyleIdx="0" presStyleCnt="3"/>
      <dgm:spPr>
        <a:solidFill>
          <a:schemeClr val="accent3">
            <a:lumMod val="40000"/>
            <a:lumOff val="60000"/>
          </a:schemeClr>
        </a:solidFill>
      </dgm:spPr>
    </dgm:pt>
    <dgm:pt modelId="{213CB293-0FE7-4525-9F0A-41A1BE592887}" type="pres">
      <dgm:prSet presAssocID="{E0B1BA0E-2F54-4FE4-821C-0652AA139CA3}" presName="parTx" presStyleLbl="revTx" presStyleIdx="0" presStyleCnt="13"/>
      <dgm:spPr/>
    </dgm:pt>
    <dgm:pt modelId="{46F375DD-238E-476B-802A-ACB3950E4ECB}" type="pres">
      <dgm:prSet presAssocID="{E0B1BA0E-2F54-4FE4-821C-0652AA139CA3}" presName="bSpace" presStyleCnt="0"/>
      <dgm:spPr/>
    </dgm:pt>
    <dgm:pt modelId="{B8914739-A04B-45DE-A830-FD959FCB951A}" type="pres">
      <dgm:prSet presAssocID="{E0B1BA0E-2F54-4FE4-821C-0652AA139CA3}" presName="parBackupNorm" presStyleCnt="0"/>
      <dgm:spPr/>
    </dgm:pt>
    <dgm:pt modelId="{4E560C4B-F838-4532-9D84-950FBC2008C3}" type="pres">
      <dgm:prSet presAssocID="{BB1797EA-EE67-4159-8B73-D2E3AC048AB8}" presName="parSpace" presStyleCnt="0"/>
      <dgm:spPr/>
    </dgm:pt>
    <dgm:pt modelId="{AC522960-E4E8-4D2D-A4B0-D1CB3BD57787}" type="pres">
      <dgm:prSet presAssocID="{11F27F85-9CF5-44CF-8F81-A69C99AEBB43}" presName="desBackupLeftNorm" presStyleCnt="0"/>
      <dgm:spPr/>
    </dgm:pt>
    <dgm:pt modelId="{1B27B291-6396-41ED-84AF-AC4AEB01742F}" type="pres">
      <dgm:prSet presAssocID="{11F27F85-9CF5-44CF-8F81-A69C99AEBB43}" presName="desComposite" presStyleCnt="0"/>
      <dgm:spPr/>
    </dgm:pt>
    <dgm:pt modelId="{BFFD1C97-79DB-4068-B9EE-1F2EFE666EF1}" type="pres">
      <dgm:prSet presAssocID="{11F27F85-9CF5-44CF-8F81-A69C99AEBB43}" presName="desCircle" presStyleLbl="node1" presStyleIdx="0" presStyleCnt="5"/>
      <dgm:spPr>
        <a:solidFill>
          <a:schemeClr val="accent5">
            <a:lumMod val="60000"/>
            <a:lumOff val="40000"/>
          </a:schemeClr>
        </a:solidFill>
      </dgm:spPr>
    </dgm:pt>
    <dgm:pt modelId="{809B394D-79A6-4E5F-81DA-60261B2F4021}" type="pres">
      <dgm:prSet presAssocID="{11F27F85-9CF5-44CF-8F81-A69C99AEBB43}" presName="chTx" presStyleLbl="revTx" presStyleIdx="1" presStyleCnt="13"/>
      <dgm:spPr/>
    </dgm:pt>
    <dgm:pt modelId="{7452ADB3-2078-4DF6-B4C0-DC813575339A}" type="pres">
      <dgm:prSet presAssocID="{11F27F85-9CF5-44CF-8F81-A69C99AEBB43}" presName="desTx" presStyleLbl="revTx" presStyleIdx="2" presStyleCnt="13">
        <dgm:presLayoutVars>
          <dgm:bulletEnabled val="1"/>
        </dgm:presLayoutVars>
      </dgm:prSet>
      <dgm:spPr/>
    </dgm:pt>
    <dgm:pt modelId="{BFC0F9A4-BDE3-47F5-B6DE-A6CC69328E5C}" type="pres">
      <dgm:prSet presAssocID="{11F27F85-9CF5-44CF-8F81-A69C99AEBB43}" presName="desBackupRightNorm" presStyleCnt="0"/>
      <dgm:spPr/>
    </dgm:pt>
    <dgm:pt modelId="{E4A8DC88-8CB9-4D67-8818-B47843D70B8C}" type="pres">
      <dgm:prSet presAssocID="{DDCDE96F-B60B-4B91-9BFC-44A3F5F216EF}" presName="desSpace" presStyleCnt="0"/>
      <dgm:spPr/>
    </dgm:pt>
    <dgm:pt modelId="{C4DC36F4-84C9-41DE-AB29-50605F3D3B19}" type="pres">
      <dgm:prSet presAssocID="{E4E6BEAD-455E-484F-844D-27508C3C0B9C}" presName="parComposite" presStyleCnt="0"/>
      <dgm:spPr/>
    </dgm:pt>
    <dgm:pt modelId="{A1DD86DC-5CE0-4A91-8ABD-60F1AC640F94}" type="pres">
      <dgm:prSet presAssocID="{E4E6BEAD-455E-484F-844D-27508C3C0B9C}" presName="parBigCircle" presStyleLbl="node0" presStyleIdx="1" presStyleCnt="3"/>
      <dgm:spPr>
        <a:solidFill>
          <a:srgbClr val="92D050"/>
        </a:solidFill>
      </dgm:spPr>
    </dgm:pt>
    <dgm:pt modelId="{0E2A2977-64E1-4279-8804-9392B4FB27ED}" type="pres">
      <dgm:prSet presAssocID="{E4E6BEAD-455E-484F-844D-27508C3C0B9C}" presName="parTx" presStyleLbl="revTx" presStyleIdx="3" presStyleCnt="13"/>
      <dgm:spPr/>
    </dgm:pt>
    <dgm:pt modelId="{512E003D-EFC8-41F6-A11A-4B4A576D627C}" type="pres">
      <dgm:prSet presAssocID="{E4E6BEAD-455E-484F-844D-27508C3C0B9C}" presName="bSpace" presStyleCnt="0"/>
      <dgm:spPr/>
    </dgm:pt>
    <dgm:pt modelId="{9F55A7BB-80BF-4E2B-BD78-339D1137835B}" type="pres">
      <dgm:prSet presAssocID="{E4E6BEAD-455E-484F-844D-27508C3C0B9C}" presName="parBackupNorm" presStyleCnt="0"/>
      <dgm:spPr/>
    </dgm:pt>
    <dgm:pt modelId="{F60539D1-6F27-4BFA-A005-1385A1DEFAEC}" type="pres">
      <dgm:prSet presAssocID="{42063287-1AFA-4F23-9CA4-2E9E51E70DD5}" presName="parSpace" presStyleCnt="0"/>
      <dgm:spPr/>
    </dgm:pt>
    <dgm:pt modelId="{14C0F7BB-CDE3-4E76-8F18-16C8AC48A822}" type="pres">
      <dgm:prSet presAssocID="{D3A06FFA-B026-4CE0-A24B-277A9DE92219}" presName="desBackupLeftNorm" presStyleCnt="0"/>
      <dgm:spPr/>
    </dgm:pt>
    <dgm:pt modelId="{F74126DA-37C8-410A-8093-E555AF1B8F85}" type="pres">
      <dgm:prSet presAssocID="{D3A06FFA-B026-4CE0-A24B-277A9DE92219}" presName="desComposite" presStyleCnt="0"/>
      <dgm:spPr/>
    </dgm:pt>
    <dgm:pt modelId="{BAB54BC1-DBDB-4692-8B9A-C81129A4AA0D}" type="pres">
      <dgm:prSet presAssocID="{D3A06FFA-B026-4CE0-A24B-277A9DE92219}" presName="desCircle" presStyleLbl="node1" presStyleIdx="1" presStyleCnt="5"/>
      <dgm:spPr>
        <a:solidFill>
          <a:schemeClr val="accent3">
            <a:lumMod val="60000"/>
            <a:lumOff val="40000"/>
          </a:schemeClr>
        </a:solidFill>
      </dgm:spPr>
    </dgm:pt>
    <dgm:pt modelId="{3D8DBB6F-7150-4B10-9FCF-00D9AAD86A2E}" type="pres">
      <dgm:prSet presAssocID="{D3A06FFA-B026-4CE0-A24B-277A9DE92219}" presName="chTx" presStyleLbl="revTx" presStyleIdx="4" presStyleCnt="13"/>
      <dgm:spPr/>
    </dgm:pt>
    <dgm:pt modelId="{2A99CE41-994D-4383-A778-4CDBA1815548}" type="pres">
      <dgm:prSet presAssocID="{D3A06FFA-B026-4CE0-A24B-277A9DE92219}" presName="desTx" presStyleLbl="revTx" presStyleIdx="5" presStyleCnt="13">
        <dgm:presLayoutVars>
          <dgm:bulletEnabled val="1"/>
        </dgm:presLayoutVars>
      </dgm:prSet>
      <dgm:spPr/>
    </dgm:pt>
    <dgm:pt modelId="{E68857AB-2C3F-4AF4-AF94-6326474A3E5E}" type="pres">
      <dgm:prSet presAssocID="{D3A06FFA-B026-4CE0-A24B-277A9DE92219}" presName="desBackupRightNorm" presStyleCnt="0"/>
      <dgm:spPr/>
    </dgm:pt>
    <dgm:pt modelId="{F295E1FE-7BC0-4A6F-ADA2-FFEC32837FA2}" type="pres">
      <dgm:prSet presAssocID="{69DFEA23-CF6C-4E5B-ABF1-D0C472A342BE}" presName="desSpace" presStyleCnt="0"/>
      <dgm:spPr/>
    </dgm:pt>
    <dgm:pt modelId="{4806E6D8-E53B-49EA-857C-53135285DEE2}" type="pres">
      <dgm:prSet presAssocID="{5F65246D-4E61-4CDF-9578-AD42A3F5B91C}" presName="desBackupLeftNorm" presStyleCnt="0"/>
      <dgm:spPr/>
    </dgm:pt>
    <dgm:pt modelId="{D14513E1-0679-4821-BDD5-11607524F4EB}" type="pres">
      <dgm:prSet presAssocID="{5F65246D-4E61-4CDF-9578-AD42A3F5B91C}" presName="desComposite" presStyleCnt="0"/>
      <dgm:spPr/>
    </dgm:pt>
    <dgm:pt modelId="{BE3D4741-6D6A-4676-BB4A-25D36E1E2ACE}" type="pres">
      <dgm:prSet presAssocID="{5F65246D-4E61-4CDF-9578-AD42A3F5B91C}" presName="desCircle" presStyleLbl="node1" presStyleIdx="2" presStyleCnt="5"/>
      <dgm:spPr>
        <a:solidFill>
          <a:srgbClr val="FFC000"/>
        </a:solidFill>
      </dgm:spPr>
    </dgm:pt>
    <dgm:pt modelId="{76D30138-EDE6-4E07-9858-1FF84B51885C}" type="pres">
      <dgm:prSet presAssocID="{5F65246D-4E61-4CDF-9578-AD42A3F5B91C}" presName="chTx" presStyleLbl="revTx" presStyleIdx="6" presStyleCnt="13"/>
      <dgm:spPr/>
    </dgm:pt>
    <dgm:pt modelId="{59EDD76F-5E91-45E5-A217-EEBDADE3917D}" type="pres">
      <dgm:prSet presAssocID="{5F65246D-4E61-4CDF-9578-AD42A3F5B91C}" presName="desTx" presStyleLbl="revTx" presStyleIdx="7" presStyleCnt="13">
        <dgm:presLayoutVars>
          <dgm:bulletEnabled val="1"/>
        </dgm:presLayoutVars>
      </dgm:prSet>
      <dgm:spPr/>
    </dgm:pt>
    <dgm:pt modelId="{EBD317C0-7E9A-4E9E-94AE-5BF89F74BA73}" type="pres">
      <dgm:prSet presAssocID="{5F65246D-4E61-4CDF-9578-AD42A3F5B91C}" presName="desBackupRightNorm" presStyleCnt="0"/>
      <dgm:spPr/>
    </dgm:pt>
    <dgm:pt modelId="{69139CD5-37EB-415C-B93B-25AFA35CFF8B}" type="pres">
      <dgm:prSet presAssocID="{6BF54432-1C76-4A25-951E-9DD48B77C4D9}" presName="desSpace" presStyleCnt="0"/>
      <dgm:spPr/>
    </dgm:pt>
    <dgm:pt modelId="{1BCC4D69-7D9D-40F4-A67D-E91D2C05F01F}" type="pres">
      <dgm:prSet presAssocID="{B5D1473D-84D3-4F18-9360-22AB091BD486}" presName="desBackupLeftNorm" presStyleCnt="0"/>
      <dgm:spPr/>
    </dgm:pt>
    <dgm:pt modelId="{1FC3F592-3872-4CDB-A7E2-5059356BD19A}" type="pres">
      <dgm:prSet presAssocID="{B5D1473D-84D3-4F18-9360-22AB091BD486}" presName="desComposite" presStyleCnt="0"/>
      <dgm:spPr/>
    </dgm:pt>
    <dgm:pt modelId="{4C7CDBB5-7F62-498D-8714-BDE249F48BD4}" type="pres">
      <dgm:prSet presAssocID="{B5D1473D-84D3-4F18-9360-22AB091BD486}" presName="desCircle" presStyleLbl="node1" presStyleIdx="3" presStyleCnt="5"/>
      <dgm:spPr>
        <a:solidFill>
          <a:srgbClr val="FF9900"/>
        </a:solidFill>
      </dgm:spPr>
    </dgm:pt>
    <dgm:pt modelId="{495BF680-402A-4784-856D-C38DC3132C4A}" type="pres">
      <dgm:prSet presAssocID="{B5D1473D-84D3-4F18-9360-22AB091BD486}" presName="chTx" presStyleLbl="revTx" presStyleIdx="8" presStyleCnt="13"/>
      <dgm:spPr/>
    </dgm:pt>
    <dgm:pt modelId="{4F280412-E9C1-4826-8DF5-6C66FE68F4A6}" type="pres">
      <dgm:prSet presAssocID="{B5D1473D-84D3-4F18-9360-22AB091BD486}" presName="desTx" presStyleLbl="revTx" presStyleIdx="9" presStyleCnt="13">
        <dgm:presLayoutVars>
          <dgm:bulletEnabled val="1"/>
        </dgm:presLayoutVars>
      </dgm:prSet>
      <dgm:spPr/>
    </dgm:pt>
    <dgm:pt modelId="{31A4EDD5-6734-4086-A717-E46AEDBD9336}" type="pres">
      <dgm:prSet presAssocID="{B5D1473D-84D3-4F18-9360-22AB091BD486}" presName="desBackupRightNorm" presStyleCnt="0"/>
      <dgm:spPr/>
    </dgm:pt>
    <dgm:pt modelId="{E352C6EA-A73A-463E-A748-7C9B7EC9CAEC}" type="pres">
      <dgm:prSet presAssocID="{699B74C8-45E3-4B04-8111-11D118D43B80}" presName="desSpace" presStyleCnt="0"/>
      <dgm:spPr/>
    </dgm:pt>
    <dgm:pt modelId="{A4D43CD9-7479-47DF-8DC2-C790DD260FF1}" type="pres">
      <dgm:prSet presAssocID="{2161B720-49F4-4587-8B3E-23060DADB615}" presName="desBackupLeftNorm" presStyleCnt="0"/>
      <dgm:spPr/>
    </dgm:pt>
    <dgm:pt modelId="{51F60187-FC09-42C2-9998-CD35516FF242}" type="pres">
      <dgm:prSet presAssocID="{2161B720-49F4-4587-8B3E-23060DADB615}" presName="desComposite" presStyleCnt="0"/>
      <dgm:spPr/>
    </dgm:pt>
    <dgm:pt modelId="{C9E2F7E4-C883-43EB-BD76-77115CA1956C}" type="pres">
      <dgm:prSet presAssocID="{2161B720-49F4-4587-8B3E-23060DADB615}" presName="desCircle" presStyleLbl="node1" presStyleIdx="4" presStyleCnt="5"/>
      <dgm:spPr>
        <a:solidFill>
          <a:srgbClr val="FF0000"/>
        </a:solidFill>
      </dgm:spPr>
    </dgm:pt>
    <dgm:pt modelId="{8FEA524A-74F6-44A2-86F2-4F0A94CFB5AF}" type="pres">
      <dgm:prSet presAssocID="{2161B720-49F4-4587-8B3E-23060DADB615}" presName="chTx" presStyleLbl="revTx" presStyleIdx="10" presStyleCnt="13"/>
      <dgm:spPr/>
    </dgm:pt>
    <dgm:pt modelId="{EA636DDC-8410-4791-87D9-D2BB63968C8A}" type="pres">
      <dgm:prSet presAssocID="{2161B720-49F4-4587-8B3E-23060DADB615}" presName="desTx" presStyleLbl="revTx" presStyleIdx="11" presStyleCnt="13">
        <dgm:presLayoutVars>
          <dgm:bulletEnabled val="1"/>
        </dgm:presLayoutVars>
      </dgm:prSet>
      <dgm:spPr/>
    </dgm:pt>
    <dgm:pt modelId="{46923AA8-BC5E-4AAC-BE90-DDF9BB366C5A}" type="pres">
      <dgm:prSet presAssocID="{2161B720-49F4-4587-8B3E-23060DADB615}" presName="desBackupRightNorm" presStyleCnt="0"/>
      <dgm:spPr/>
    </dgm:pt>
    <dgm:pt modelId="{C149D0A0-3DC3-428A-A92C-9C9DC92560E0}" type="pres">
      <dgm:prSet presAssocID="{0989FC68-2409-4677-95B1-18C59B855C6B}" presName="desSpace" presStyleCnt="0"/>
      <dgm:spPr/>
    </dgm:pt>
    <dgm:pt modelId="{FBB6A80E-1B0B-4217-9A4E-D2D80EDBA844}" type="pres">
      <dgm:prSet presAssocID="{E65CCDFE-2748-4AC4-8BD5-90FE1E4531B0}" presName="parComposite" presStyleCnt="0"/>
      <dgm:spPr/>
    </dgm:pt>
    <dgm:pt modelId="{C058E175-1B8C-4C0F-8449-AC7D53AA1F2D}" type="pres">
      <dgm:prSet presAssocID="{E65CCDFE-2748-4AC4-8BD5-90FE1E4531B0}" presName="parBigCircle" presStyleLbl="node0" presStyleIdx="2" presStyleCnt="3"/>
      <dgm:spPr>
        <a:gradFill flip="none" rotWithShape="1">
          <a:gsLst>
            <a:gs pos="0">
              <a:srgbClr val="FF0000"/>
            </a:gs>
            <a:gs pos="100000">
              <a:srgbClr val="00B050"/>
            </a:gs>
          </a:gsLst>
          <a:lin ang="0" scaled="1"/>
          <a:tileRect/>
        </a:gradFill>
      </dgm:spPr>
    </dgm:pt>
    <dgm:pt modelId="{2EB21A1F-25C5-46B2-81F8-7964CE6F735D}" type="pres">
      <dgm:prSet presAssocID="{E65CCDFE-2748-4AC4-8BD5-90FE1E4531B0}" presName="parTx" presStyleLbl="revTx" presStyleIdx="12" presStyleCnt="13"/>
      <dgm:spPr/>
    </dgm:pt>
    <dgm:pt modelId="{3DEF6C7D-00EB-4CE0-BCBC-D6553B449AB3}" type="pres">
      <dgm:prSet presAssocID="{E65CCDFE-2748-4AC4-8BD5-90FE1E4531B0}" presName="bSpace" presStyleCnt="0"/>
      <dgm:spPr/>
    </dgm:pt>
    <dgm:pt modelId="{3DA1F319-87F9-4882-BD8F-B268CDFCA19D}" type="pres">
      <dgm:prSet presAssocID="{E65CCDFE-2748-4AC4-8BD5-90FE1E4531B0}" presName="parBackupNorm" presStyleCnt="0"/>
      <dgm:spPr/>
    </dgm:pt>
    <dgm:pt modelId="{1B1809A7-909C-4358-AC1A-F080268C1E78}" type="pres">
      <dgm:prSet presAssocID="{BD9BFB69-1676-4DB2-9913-471A1D41807D}" presName="parSpace" presStyleCnt="0"/>
      <dgm:spPr/>
    </dgm:pt>
  </dgm:ptLst>
  <dgm:cxnLst>
    <dgm:cxn modelId="{0E758611-DD9F-4751-9BDB-6FDE72BC9FED}" srcId="{E4E6BEAD-455E-484F-844D-27508C3C0B9C}" destId="{2161B720-49F4-4587-8B3E-23060DADB615}" srcOrd="3" destOrd="0" parTransId="{5DF27920-C260-4D6F-BE65-B708D2A1354C}" sibTransId="{0989FC68-2409-4677-95B1-18C59B855C6B}"/>
    <dgm:cxn modelId="{C73E561D-CEBA-414D-BE83-9302BCDA209A}" srcId="{CA761AE4-81EE-4599-8DEE-35EA81D7FA58}" destId="{E0B1BA0E-2F54-4FE4-821C-0652AA139CA3}" srcOrd="0" destOrd="0" parTransId="{1102CBD0-F447-45DE-BE69-845A6CBD3853}" sibTransId="{BB1797EA-EE67-4159-8B73-D2E3AC048AB8}"/>
    <dgm:cxn modelId="{3254295B-A9A5-4904-857E-6F0CCF5F6F0E}" srcId="{E0B1BA0E-2F54-4FE4-821C-0652AA139CA3}" destId="{11F27F85-9CF5-44CF-8F81-A69C99AEBB43}" srcOrd="0" destOrd="0" parTransId="{42C45420-0C08-4132-9A02-9374BCDADD77}" sibTransId="{DDCDE96F-B60B-4B91-9BFC-44A3F5F216EF}"/>
    <dgm:cxn modelId="{3578144C-4894-46C6-A04E-7B6007CB2D75}" type="presOf" srcId="{D3A06FFA-B026-4CE0-A24B-277A9DE92219}" destId="{3D8DBB6F-7150-4B10-9FCF-00D9AAD86A2E}" srcOrd="0" destOrd="0" presId="urn:microsoft.com/office/officeart/2008/layout/CircleAccentTimeline"/>
    <dgm:cxn modelId="{B1D7E854-28B2-48D1-97F7-A5EDB537D7F8}" type="presOf" srcId="{E4E6BEAD-455E-484F-844D-27508C3C0B9C}" destId="{0E2A2977-64E1-4279-8804-9392B4FB27ED}" srcOrd="0" destOrd="0" presId="urn:microsoft.com/office/officeart/2008/layout/CircleAccentTimeline"/>
    <dgm:cxn modelId="{0D94E056-AB15-47D8-9045-31756A2A73CB}" srcId="{CA761AE4-81EE-4599-8DEE-35EA81D7FA58}" destId="{E4E6BEAD-455E-484F-844D-27508C3C0B9C}" srcOrd="1" destOrd="0" parTransId="{002E04A7-EBFD-410D-A85E-903C6A1ED79D}" sibTransId="{42063287-1AFA-4F23-9CA4-2E9E51E70DD5}"/>
    <dgm:cxn modelId="{F1DBBE78-B5D6-4C28-831A-EF4080FC9B36}" srcId="{E4E6BEAD-455E-484F-844D-27508C3C0B9C}" destId="{D3A06FFA-B026-4CE0-A24B-277A9DE92219}" srcOrd="0" destOrd="0" parTransId="{74D4F649-4740-4AFB-9881-56A5AFE05006}" sibTransId="{69DFEA23-CF6C-4E5B-ABF1-D0C472A342BE}"/>
    <dgm:cxn modelId="{3887E27A-AF15-49EF-9147-4FAFD09700B6}" type="presOf" srcId="{E0B1BA0E-2F54-4FE4-821C-0652AA139CA3}" destId="{213CB293-0FE7-4525-9F0A-41A1BE592887}" srcOrd="0" destOrd="0" presId="urn:microsoft.com/office/officeart/2008/layout/CircleAccentTimeline"/>
    <dgm:cxn modelId="{38F803A4-7B2E-4E31-9E7C-76728E529833}" type="presOf" srcId="{5F65246D-4E61-4CDF-9578-AD42A3F5B91C}" destId="{76D30138-EDE6-4E07-9858-1FF84B51885C}" srcOrd="0" destOrd="0" presId="urn:microsoft.com/office/officeart/2008/layout/CircleAccentTimeline"/>
    <dgm:cxn modelId="{E6600AA4-F745-4F2E-8303-3F2A356AE2A2}" srcId="{E4E6BEAD-455E-484F-844D-27508C3C0B9C}" destId="{B5D1473D-84D3-4F18-9360-22AB091BD486}" srcOrd="2" destOrd="0" parTransId="{20185478-2D53-427C-9DC1-4B160C1F8F58}" sibTransId="{699B74C8-45E3-4B04-8111-11D118D43B80}"/>
    <dgm:cxn modelId="{25A9BAAF-036E-42E5-87E6-F3670DD8BCEA}" type="presOf" srcId="{CA761AE4-81EE-4599-8DEE-35EA81D7FA58}" destId="{3036B8AB-FAD3-46E3-8D41-19381E1E3B23}" srcOrd="0" destOrd="0" presId="urn:microsoft.com/office/officeart/2008/layout/CircleAccentTimeline"/>
    <dgm:cxn modelId="{FE7B67BB-B2E7-4015-B3D0-231E86716003}" type="presOf" srcId="{2161B720-49F4-4587-8B3E-23060DADB615}" destId="{8FEA524A-74F6-44A2-86F2-4F0A94CFB5AF}" srcOrd="0" destOrd="0" presId="urn:microsoft.com/office/officeart/2008/layout/CircleAccentTimeline"/>
    <dgm:cxn modelId="{372B06C3-1961-407B-8205-39B5BD6BB52C}" srcId="{E4E6BEAD-455E-484F-844D-27508C3C0B9C}" destId="{5F65246D-4E61-4CDF-9578-AD42A3F5B91C}" srcOrd="1" destOrd="0" parTransId="{2442798B-8E56-4088-ADCD-4751349509EB}" sibTransId="{6BF54432-1C76-4A25-951E-9DD48B77C4D9}"/>
    <dgm:cxn modelId="{2C2AAFCA-15C0-4E7B-8D1B-D4D3F62C2C4B}" type="presOf" srcId="{E65CCDFE-2748-4AC4-8BD5-90FE1E4531B0}" destId="{2EB21A1F-25C5-46B2-81F8-7964CE6F735D}" srcOrd="0" destOrd="0" presId="urn:microsoft.com/office/officeart/2008/layout/CircleAccentTimeline"/>
    <dgm:cxn modelId="{1BC9F4D2-04CF-42B2-930C-4F5048B2BC12}" type="presOf" srcId="{11F27F85-9CF5-44CF-8F81-A69C99AEBB43}" destId="{809B394D-79A6-4E5F-81DA-60261B2F4021}" srcOrd="0" destOrd="0" presId="urn:microsoft.com/office/officeart/2008/layout/CircleAccentTimeline"/>
    <dgm:cxn modelId="{BAF302EE-5650-4FB4-8505-A828BC707166}" srcId="{CA761AE4-81EE-4599-8DEE-35EA81D7FA58}" destId="{E65CCDFE-2748-4AC4-8BD5-90FE1E4531B0}" srcOrd="2" destOrd="0" parTransId="{FE9739A3-C6E0-49EC-A25C-89527497E9C2}" sibTransId="{BD9BFB69-1676-4DB2-9913-471A1D41807D}"/>
    <dgm:cxn modelId="{661929F0-20C6-4A50-A216-B9313CE6A063}" type="presOf" srcId="{B5D1473D-84D3-4F18-9360-22AB091BD486}" destId="{495BF680-402A-4784-856D-C38DC3132C4A}" srcOrd="0" destOrd="0" presId="urn:microsoft.com/office/officeart/2008/layout/CircleAccentTimeline"/>
    <dgm:cxn modelId="{4565E86A-C4CC-43EE-9772-470D94D5D753}" type="presParOf" srcId="{3036B8AB-FAD3-46E3-8D41-19381E1E3B23}" destId="{3DEC061C-4A1A-4CFB-BE83-D467B61896EE}" srcOrd="0" destOrd="0" presId="urn:microsoft.com/office/officeart/2008/layout/CircleAccentTimeline"/>
    <dgm:cxn modelId="{59157FE6-6E72-4497-ABD6-AE75B23037D7}" type="presParOf" srcId="{3DEC061C-4A1A-4CFB-BE83-D467B61896EE}" destId="{ADBEF2CA-4E97-4013-BECE-41EE8364607D}" srcOrd="0" destOrd="0" presId="urn:microsoft.com/office/officeart/2008/layout/CircleAccentTimeline"/>
    <dgm:cxn modelId="{31FFC21D-35AE-4504-970B-E7C3D7F9A7DE}" type="presParOf" srcId="{3DEC061C-4A1A-4CFB-BE83-D467B61896EE}" destId="{213CB293-0FE7-4525-9F0A-41A1BE592887}" srcOrd="1" destOrd="0" presId="urn:microsoft.com/office/officeart/2008/layout/CircleAccentTimeline"/>
    <dgm:cxn modelId="{D5B3831C-AA81-431D-A5E9-F67C69304C52}" type="presParOf" srcId="{3DEC061C-4A1A-4CFB-BE83-D467B61896EE}" destId="{46F375DD-238E-476B-802A-ACB3950E4ECB}" srcOrd="2" destOrd="0" presId="urn:microsoft.com/office/officeart/2008/layout/CircleAccentTimeline"/>
    <dgm:cxn modelId="{A8824C46-2A95-4FB8-B76C-913594CBA729}" type="presParOf" srcId="{3036B8AB-FAD3-46E3-8D41-19381E1E3B23}" destId="{B8914739-A04B-45DE-A830-FD959FCB951A}" srcOrd="1" destOrd="0" presId="urn:microsoft.com/office/officeart/2008/layout/CircleAccentTimeline"/>
    <dgm:cxn modelId="{B9BAD7A1-0427-41D3-A5B1-AF6EB97F0AD9}" type="presParOf" srcId="{3036B8AB-FAD3-46E3-8D41-19381E1E3B23}" destId="{4E560C4B-F838-4532-9D84-950FBC2008C3}" srcOrd="2" destOrd="0" presId="urn:microsoft.com/office/officeart/2008/layout/CircleAccentTimeline"/>
    <dgm:cxn modelId="{EAE0EA9F-C543-491E-8F53-61439FC36914}" type="presParOf" srcId="{3036B8AB-FAD3-46E3-8D41-19381E1E3B23}" destId="{AC522960-E4E8-4D2D-A4B0-D1CB3BD57787}" srcOrd="3" destOrd="0" presId="urn:microsoft.com/office/officeart/2008/layout/CircleAccentTimeline"/>
    <dgm:cxn modelId="{D4DEC5B0-285E-4A7A-AF3D-475CE269A438}" type="presParOf" srcId="{3036B8AB-FAD3-46E3-8D41-19381E1E3B23}" destId="{1B27B291-6396-41ED-84AF-AC4AEB01742F}" srcOrd="4" destOrd="0" presId="urn:microsoft.com/office/officeart/2008/layout/CircleAccentTimeline"/>
    <dgm:cxn modelId="{521D24F9-0A76-402B-8723-6071E0EDA1F4}" type="presParOf" srcId="{1B27B291-6396-41ED-84AF-AC4AEB01742F}" destId="{BFFD1C97-79DB-4068-B9EE-1F2EFE666EF1}" srcOrd="0" destOrd="0" presId="urn:microsoft.com/office/officeart/2008/layout/CircleAccentTimeline"/>
    <dgm:cxn modelId="{DFE8715E-AC3E-4A88-973E-E054191DE041}" type="presParOf" srcId="{1B27B291-6396-41ED-84AF-AC4AEB01742F}" destId="{809B394D-79A6-4E5F-81DA-60261B2F4021}" srcOrd="1" destOrd="0" presId="urn:microsoft.com/office/officeart/2008/layout/CircleAccentTimeline"/>
    <dgm:cxn modelId="{3BD00065-B0E7-4CEC-83EE-87BCAB2C39E0}" type="presParOf" srcId="{1B27B291-6396-41ED-84AF-AC4AEB01742F}" destId="{7452ADB3-2078-4DF6-B4C0-DC813575339A}" srcOrd="2" destOrd="0" presId="urn:microsoft.com/office/officeart/2008/layout/CircleAccentTimeline"/>
    <dgm:cxn modelId="{34C640AD-6890-4ABA-BC3B-94EE6760578B}" type="presParOf" srcId="{3036B8AB-FAD3-46E3-8D41-19381E1E3B23}" destId="{BFC0F9A4-BDE3-47F5-B6DE-A6CC69328E5C}" srcOrd="5" destOrd="0" presId="urn:microsoft.com/office/officeart/2008/layout/CircleAccentTimeline"/>
    <dgm:cxn modelId="{10834A5D-0370-4B91-B833-979F7C2D8328}" type="presParOf" srcId="{3036B8AB-FAD3-46E3-8D41-19381E1E3B23}" destId="{E4A8DC88-8CB9-4D67-8818-B47843D70B8C}" srcOrd="6" destOrd="0" presId="urn:microsoft.com/office/officeart/2008/layout/CircleAccentTimeline"/>
    <dgm:cxn modelId="{03E00A84-11B5-4BDB-A066-26B75E5C67D9}" type="presParOf" srcId="{3036B8AB-FAD3-46E3-8D41-19381E1E3B23}" destId="{C4DC36F4-84C9-41DE-AB29-50605F3D3B19}" srcOrd="7" destOrd="0" presId="urn:microsoft.com/office/officeart/2008/layout/CircleAccentTimeline"/>
    <dgm:cxn modelId="{B748B6DD-A2E0-4DB5-821C-655566BEFDD8}" type="presParOf" srcId="{C4DC36F4-84C9-41DE-AB29-50605F3D3B19}" destId="{A1DD86DC-5CE0-4A91-8ABD-60F1AC640F94}" srcOrd="0" destOrd="0" presId="urn:microsoft.com/office/officeart/2008/layout/CircleAccentTimeline"/>
    <dgm:cxn modelId="{FB3F7954-2285-40B6-89C4-0D5312EBEE34}" type="presParOf" srcId="{C4DC36F4-84C9-41DE-AB29-50605F3D3B19}" destId="{0E2A2977-64E1-4279-8804-9392B4FB27ED}" srcOrd="1" destOrd="0" presId="urn:microsoft.com/office/officeart/2008/layout/CircleAccentTimeline"/>
    <dgm:cxn modelId="{4D8ABB4F-A731-4948-8296-05660962A50B}" type="presParOf" srcId="{C4DC36F4-84C9-41DE-AB29-50605F3D3B19}" destId="{512E003D-EFC8-41F6-A11A-4B4A576D627C}" srcOrd="2" destOrd="0" presId="urn:microsoft.com/office/officeart/2008/layout/CircleAccentTimeline"/>
    <dgm:cxn modelId="{8A539716-0BC4-4211-83B4-34AD060D418A}" type="presParOf" srcId="{3036B8AB-FAD3-46E3-8D41-19381E1E3B23}" destId="{9F55A7BB-80BF-4E2B-BD78-339D1137835B}" srcOrd="8" destOrd="0" presId="urn:microsoft.com/office/officeart/2008/layout/CircleAccentTimeline"/>
    <dgm:cxn modelId="{40D04E58-BAD3-4F73-8F2B-31DEE85C2655}" type="presParOf" srcId="{3036B8AB-FAD3-46E3-8D41-19381E1E3B23}" destId="{F60539D1-6F27-4BFA-A005-1385A1DEFAEC}" srcOrd="9" destOrd="0" presId="urn:microsoft.com/office/officeart/2008/layout/CircleAccentTimeline"/>
    <dgm:cxn modelId="{7B0C1D1E-16CC-4235-A4E7-3A896E2A8BB6}" type="presParOf" srcId="{3036B8AB-FAD3-46E3-8D41-19381E1E3B23}" destId="{14C0F7BB-CDE3-4E76-8F18-16C8AC48A822}" srcOrd="10" destOrd="0" presId="urn:microsoft.com/office/officeart/2008/layout/CircleAccentTimeline"/>
    <dgm:cxn modelId="{8D57F018-A48A-42FD-BF64-3CF31FE2981B}" type="presParOf" srcId="{3036B8AB-FAD3-46E3-8D41-19381E1E3B23}" destId="{F74126DA-37C8-410A-8093-E555AF1B8F85}" srcOrd="11" destOrd="0" presId="urn:microsoft.com/office/officeart/2008/layout/CircleAccentTimeline"/>
    <dgm:cxn modelId="{DAC9DED5-D6B7-4928-BE31-EA5790D4DF6E}" type="presParOf" srcId="{F74126DA-37C8-410A-8093-E555AF1B8F85}" destId="{BAB54BC1-DBDB-4692-8B9A-C81129A4AA0D}" srcOrd="0" destOrd="0" presId="urn:microsoft.com/office/officeart/2008/layout/CircleAccentTimeline"/>
    <dgm:cxn modelId="{24501133-403A-4DDD-801F-28ACA9DBF4CD}" type="presParOf" srcId="{F74126DA-37C8-410A-8093-E555AF1B8F85}" destId="{3D8DBB6F-7150-4B10-9FCF-00D9AAD86A2E}" srcOrd="1" destOrd="0" presId="urn:microsoft.com/office/officeart/2008/layout/CircleAccentTimeline"/>
    <dgm:cxn modelId="{BD725173-10E5-4E89-8D62-8C86F7E30FB4}" type="presParOf" srcId="{F74126DA-37C8-410A-8093-E555AF1B8F85}" destId="{2A99CE41-994D-4383-A778-4CDBA1815548}" srcOrd="2" destOrd="0" presId="urn:microsoft.com/office/officeart/2008/layout/CircleAccentTimeline"/>
    <dgm:cxn modelId="{8E21DED2-0868-4BC1-909F-573C9918163C}" type="presParOf" srcId="{3036B8AB-FAD3-46E3-8D41-19381E1E3B23}" destId="{E68857AB-2C3F-4AF4-AF94-6326474A3E5E}" srcOrd="12" destOrd="0" presId="urn:microsoft.com/office/officeart/2008/layout/CircleAccentTimeline"/>
    <dgm:cxn modelId="{7FE55078-4724-4B98-A086-84BFB4BBED1A}" type="presParOf" srcId="{3036B8AB-FAD3-46E3-8D41-19381E1E3B23}" destId="{F295E1FE-7BC0-4A6F-ADA2-FFEC32837FA2}" srcOrd="13" destOrd="0" presId="urn:microsoft.com/office/officeart/2008/layout/CircleAccentTimeline"/>
    <dgm:cxn modelId="{43794DC5-4FBE-440D-AC25-CE9BF41DC917}" type="presParOf" srcId="{3036B8AB-FAD3-46E3-8D41-19381E1E3B23}" destId="{4806E6D8-E53B-49EA-857C-53135285DEE2}" srcOrd="14" destOrd="0" presId="urn:microsoft.com/office/officeart/2008/layout/CircleAccentTimeline"/>
    <dgm:cxn modelId="{ECA174B2-B11F-4D2D-8759-0031689B7E2F}" type="presParOf" srcId="{3036B8AB-FAD3-46E3-8D41-19381E1E3B23}" destId="{D14513E1-0679-4821-BDD5-11607524F4EB}" srcOrd="15" destOrd="0" presId="urn:microsoft.com/office/officeart/2008/layout/CircleAccentTimeline"/>
    <dgm:cxn modelId="{C60D987F-2990-4952-8F3F-37EFF15AD007}" type="presParOf" srcId="{D14513E1-0679-4821-BDD5-11607524F4EB}" destId="{BE3D4741-6D6A-4676-BB4A-25D36E1E2ACE}" srcOrd="0" destOrd="0" presId="urn:microsoft.com/office/officeart/2008/layout/CircleAccentTimeline"/>
    <dgm:cxn modelId="{279DE6F3-AE91-460C-8360-6AFB5D847098}" type="presParOf" srcId="{D14513E1-0679-4821-BDD5-11607524F4EB}" destId="{76D30138-EDE6-4E07-9858-1FF84B51885C}" srcOrd="1" destOrd="0" presId="urn:microsoft.com/office/officeart/2008/layout/CircleAccentTimeline"/>
    <dgm:cxn modelId="{141C252C-8248-45D9-8555-92BB68A7FE12}" type="presParOf" srcId="{D14513E1-0679-4821-BDD5-11607524F4EB}" destId="{59EDD76F-5E91-45E5-A217-EEBDADE3917D}" srcOrd="2" destOrd="0" presId="urn:microsoft.com/office/officeart/2008/layout/CircleAccentTimeline"/>
    <dgm:cxn modelId="{E2940F16-DD86-4374-9FE8-934E045DD5FE}" type="presParOf" srcId="{3036B8AB-FAD3-46E3-8D41-19381E1E3B23}" destId="{EBD317C0-7E9A-4E9E-94AE-5BF89F74BA73}" srcOrd="16" destOrd="0" presId="urn:microsoft.com/office/officeart/2008/layout/CircleAccentTimeline"/>
    <dgm:cxn modelId="{13BE907F-6EA0-40A6-9B3D-93FD1D00BF7D}" type="presParOf" srcId="{3036B8AB-FAD3-46E3-8D41-19381E1E3B23}" destId="{69139CD5-37EB-415C-B93B-25AFA35CFF8B}" srcOrd="17" destOrd="0" presId="urn:microsoft.com/office/officeart/2008/layout/CircleAccentTimeline"/>
    <dgm:cxn modelId="{59325287-4B8B-4860-A878-1081D3D5462B}" type="presParOf" srcId="{3036B8AB-FAD3-46E3-8D41-19381E1E3B23}" destId="{1BCC4D69-7D9D-40F4-A67D-E91D2C05F01F}" srcOrd="18" destOrd="0" presId="urn:microsoft.com/office/officeart/2008/layout/CircleAccentTimeline"/>
    <dgm:cxn modelId="{A6CAB92C-D5D9-4B4C-ADD1-71B1888165FE}" type="presParOf" srcId="{3036B8AB-FAD3-46E3-8D41-19381E1E3B23}" destId="{1FC3F592-3872-4CDB-A7E2-5059356BD19A}" srcOrd="19" destOrd="0" presId="urn:microsoft.com/office/officeart/2008/layout/CircleAccentTimeline"/>
    <dgm:cxn modelId="{CFDB9B93-C6DA-4ACE-AE36-434EE6C04975}" type="presParOf" srcId="{1FC3F592-3872-4CDB-A7E2-5059356BD19A}" destId="{4C7CDBB5-7F62-498D-8714-BDE249F48BD4}" srcOrd="0" destOrd="0" presId="urn:microsoft.com/office/officeart/2008/layout/CircleAccentTimeline"/>
    <dgm:cxn modelId="{2371B6CA-D08F-47C6-A0CD-5C9F74F193D9}" type="presParOf" srcId="{1FC3F592-3872-4CDB-A7E2-5059356BD19A}" destId="{495BF680-402A-4784-856D-C38DC3132C4A}" srcOrd="1" destOrd="0" presId="urn:microsoft.com/office/officeart/2008/layout/CircleAccentTimeline"/>
    <dgm:cxn modelId="{138F9E27-ADF0-404B-9B9E-EFB14631A7E8}" type="presParOf" srcId="{1FC3F592-3872-4CDB-A7E2-5059356BD19A}" destId="{4F280412-E9C1-4826-8DF5-6C66FE68F4A6}" srcOrd="2" destOrd="0" presId="urn:microsoft.com/office/officeart/2008/layout/CircleAccentTimeline"/>
    <dgm:cxn modelId="{4F445366-1874-41E7-9902-D0EE4A4A7ED6}" type="presParOf" srcId="{3036B8AB-FAD3-46E3-8D41-19381E1E3B23}" destId="{31A4EDD5-6734-4086-A717-E46AEDBD9336}" srcOrd="20" destOrd="0" presId="urn:microsoft.com/office/officeart/2008/layout/CircleAccentTimeline"/>
    <dgm:cxn modelId="{1B6E6399-857F-4968-B056-266BFFB4D755}" type="presParOf" srcId="{3036B8AB-FAD3-46E3-8D41-19381E1E3B23}" destId="{E352C6EA-A73A-463E-A748-7C9B7EC9CAEC}" srcOrd="21" destOrd="0" presId="urn:microsoft.com/office/officeart/2008/layout/CircleAccentTimeline"/>
    <dgm:cxn modelId="{AB99384A-07C1-4924-B56B-DB3F46E557F0}" type="presParOf" srcId="{3036B8AB-FAD3-46E3-8D41-19381E1E3B23}" destId="{A4D43CD9-7479-47DF-8DC2-C790DD260FF1}" srcOrd="22" destOrd="0" presId="urn:microsoft.com/office/officeart/2008/layout/CircleAccentTimeline"/>
    <dgm:cxn modelId="{253735F5-F655-4FDA-B320-C3E65C566521}" type="presParOf" srcId="{3036B8AB-FAD3-46E3-8D41-19381E1E3B23}" destId="{51F60187-FC09-42C2-9998-CD35516FF242}" srcOrd="23" destOrd="0" presId="urn:microsoft.com/office/officeart/2008/layout/CircleAccentTimeline"/>
    <dgm:cxn modelId="{7D2811D0-0489-43AA-B4EA-6D6CB87F876B}" type="presParOf" srcId="{51F60187-FC09-42C2-9998-CD35516FF242}" destId="{C9E2F7E4-C883-43EB-BD76-77115CA1956C}" srcOrd="0" destOrd="0" presId="urn:microsoft.com/office/officeart/2008/layout/CircleAccentTimeline"/>
    <dgm:cxn modelId="{46950CED-2CC5-4623-B5BA-6498F8970350}" type="presParOf" srcId="{51F60187-FC09-42C2-9998-CD35516FF242}" destId="{8FEA524A-74F6-44A2-86F2-4F0A94CFB5AF}" srcOrd="1" destOrd="0" presId="urn:microsoft.com/office/officeart/2008/layout/CircleAccentTimeline"/>
    <dgm:cxn modelId="{4767A36F-128A-4B11-9B9B-CAA0C9D7F4C0}" type="presParOf" srcId="{51F60187-FC09-42C2-9998-CD35516FF242}" destId="{EA636DDC-8410-4791-87D9-D2BB63968C8A}" srcOrd="2" destOrd="0" presId="urn:microsoft.com/office/officeart/2008/layout/CircleAccentTimeline"/>
    <dgm:cxn modelId="{1A0BB4E4-D34D-4BB4-87D2-03ACDBF3D06F}" type="presParOf" srcId="{3036B8AB-FAD3-46E3-8D41-19381E1E3B23}" destId="{46923AA8-BC5E-4AAC-BE90-DDF9BB366C5A}" srcOrd="24" destOrd="0" presId="urn:microsoft.com/office/officeart/2008/layout/CircleAccentTimeline"/>
    <dgm:cxn modelId="{4441DF21-F0FD-4BE0-B09A-DB055003316F}" type="presParOf" srcId="{3036B8AB-FAD3-46E3-8D41-19381E1E3B23}" destId="{C149D0A0-3DC3-428A-A92C-9C9DC92560E0}" srcOrd="25" destOrd="0" presId="urn:microsoft.com/office/officeart/2008/layout/CircleAccentTimeline"/>
    <dgm:cxn modelId="{9025C2C0-8C00-4394-9776-AAC98C8EF70D}" type="presParOf" srcId="{3036B8AB-FAD3-46E3-8D41-19381E1E3B23}" destId="{FBB6A80E-1B0B-4217-9A4E-D2D80EDBA844}" srcOrd="26" destOrd="0" presId="urn:microsoft.com/office/officeart/2008/layout/CircleAccentTimeline"/>
    <dgm:cxn modelId="{FDCC9AC3-4507-42E7-A092-8DFDB791A434}" type="presParOf" srcId="{FBB6A80E-1B0B-4217-9A4E-D2D80EDBA844}" destId="{C058E175-1B8C-4C0F-8449-AC7D53AA1F2D}" srcOrd="0" destOrd="0" presId="urn:microsoft.com/office/officeart/2008/layout/CircleAccentTimeline"/>
    <dgm:cxn modelId="{26744EE3-B08B-48E5-9324-93293647E12F}" type="presParOf" srcId="{FBB6A80E-1B0B-4217-9A4E-D2D80EDBA844}" destId="{2EB21A1F-25C5-46B2-81F8-7964CE6F735D}" srcOrd="1" destOrd="0" presId="urn:microsoft.com/office/officeart/2008/layout/CircleAccentTimeline"/>
    <dgm:cxn modelId="{E6790160-972B-4F27-A69C-AE978F3616D7}" type="presParOf" srcId="{FBB6A80E-1B0B-4217-9A4E-D2D80EDBA844}" destId="{3DEF6C7D-00EB-4CE0-BCBC-D6553B449AB3}" srcOrd="2" destOrd="0" presId="urn:microsoft.com/office/officeart/2008/layout/CircleAccentTimeline"/>
    <dgm:cxn modelId="{3567AF93-E432-409A-9504-D9F2BA6F3BCB}" type="presParOf" srcId="{3036B8AB-FAD3-46E3-8D41-19381E1E3B23}" destId="{3DA1F319-87F9-4882-BD8F-B268CDFCA19D}" srcOrd="27" destOrd="0" presId="urn:microsoft.com/office/officeart/2008/layout/CircleAccentTimeline"/>
    <dgm:cxn modelId="{E91FD0B7-9094-4E21-ADD2-7B3AF3679B7A}" type="presParOf" srcId="{3036B8AB-FAD3-46E3-8D41-19381E1E3B23}" destId="{1B1809A7-909C-4358-AC1A-F080268C1E78}" srcOrd="28" destOrd="0" presId="urn:microsoft.com/office/officeart/2008/layout/CircleAccentTimeline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46B6330-5E75-432B-9C2C-15613D723FC6}" type="doc">
      <dgm:prSet loTypeId="urn:microsoft.com/office/officeart/2009/3/layout/CircleRelationship" loCatId="relationship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GB"/>
        </a:p>
      </dgm:t>
    </dgm:pt>
    <dgm:pt modelId="{5905D3F6-3B7E-424A-B582-3CB50859101D}">
      <dgm:prSet phldrT="[Text]" custT="1"/>
      <dgm:spPr/>
      <dgm:t>
        <a:bodyPr/>
        <a:lstStyle/>
        <a:p>
          <a:r>
            <a:rPr lang="en-GB" sz="2000">
              <a:latin typeface="NBS Medium" panose="020B0603030303020204" pitchFamily="34" charset="0"/>
            </a:rPr>
            <a:t>Controls</a:t>
          </a:r>
        </a:p>
      </dgm:t>
    </dgm:pt>
    <dgm:pt modelId="{D68EF988-610B-4C3D-BC2E-31B88A5B37FF}" type="parTrans" cxnId="{9844E539-02AA-4C54-B317-4B036FE449CE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7D88A045-E63B-4989-95E8-244D1F212E9D}" type="sibTrans" cxnId="{9844E539-02AA-4C54-B317-4B036FE449CE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BEEFCB3A-F258-4003-A7F3-96F9CD439152}">
      <dgm:prSet phldrT="[Text]" custT="1"/>
      <dgm:spPr/>
      <dgm:t>
        <a:bodyPr/>
        <a:lstStyle/>
        <a:p>
          <a:r>
            <a:rPr lang="en-GB" sz="2000">
              <a:latin typeface="NBS Medium" panose="020B0603030303020204" pitchFamily="34" charset="0"/>
            </a:rPr>
            <a:t>Standards</a:t>
          </a:r>
        </a:p>
      </dgm:t>
    </dgm:pt>
    <dgm:pt modelId="{42CC1195-AC45-4523-AB00-6D66702E6E14}" type="parTrans" cxnId="{31160AA5-89EA-4AE3-AA68-BAFF1F97E60E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95D493F9-F712-4E51-B983-80FD7A2381AD}" type="sibTrans" cxnId="{31160AA5-89EA-4AE3-AA68-BAFF1F97E60E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753A1A34-EBAF-4B04-8552-37A11A5057F3}">
      <dgm:prSet phldrT="[Text]" custT="1"/>
      <dgm:spPr/>
      <dgm:t>
        <a:bodyPr/>
        <a:lstStyle/>
        <a:p>
          <a:r>
            <a:rPr lang="en-GB" sz="2000">
              <a:latin typeface="NBS Medium" panose="020B0603030303020204" pitchFamily="34" charset="0"/>
            </a:rPr>
            <a:t>Policies</a:t>
          </a:r>
        </a:p>
      </dgm:t>
    </dgm:pt>
    <dgm:pt modelId="{6742205E-14F8-4C42-8040-767C30BAF23F}" type="parTrans" cxnId="{3289B041-DCE2-41CA-BEBF-47F9A451397A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BE6F4F2B-4E8B-46D5-9EAF-5FCB91E001A5}" type="sibTrans" cxnId="{3289B041-DCE2-41CA-BEBF-47F9A451397A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C9218592-9568-4889-A857-26E79FAF3BD6}">
      <dgm:prSet phldrT="[Text]" custT="1"/>
      <dgm:spPr/>
      <dgm:t>
        <a:bodyPr/>
        <a:lstStyle/>
        <a:p>
          <a:r>
            <a:rPr lang="en-GB" sz="2000">
              <a:latin typeface="NBS Medium" panose="020B0603030303020204" pitchFamily="34" charset="0"/>
            </a:rPr>
            <a:t>Compliance</a:t>
          </a:r>
        </a:p>
      </dgm:t>
    </dgm:pt>
    <dgm:pt modelId="{BDE9B296-E371-4356-874F-0D5179E4286E}" type="parTrans" cxnId="{6B80E192-692D-4B1B-8EA7-7086992BAEB6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249E8563-2283-4371-B250-E5466ADA32A1}" type="sibTrans" cxnId="{6B80E192-692D-4B1B-8EA7-7086992BAEB6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1C8099E2-3F00-4B28-8984-5618FC3CE0F7}">
      <dgm:prSet phldrT="[Text]" custT="1"/>
      <dgm:spPr/>
      <dgm:t>
        <a:bodyPr/>
        <a:lstStyle/>
        <a:p>
          <a:r>
            <a:rPr lang="en-GB" sz="2000">
              <a:latin typeface="NBS Medium" panose="020B0603030303020204" pitchFamily="34" charset="0"/>
            </a:rPr>
            <a:t>Regulations</a:t>
          </a:r>
        </a:p>
      </dgm:t>
    </dgm:pt>
    <dgm:pt modelId="{7CD57B11-1EDC-46A1-8511-8685B4A35036}" type="parTrans" cxnId="{BCFC6546-AAC7-4D87-AA70-1B14613F2661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C58C0AA4-6131-43A7-B035-A29889DE7FAC}" type="sibTrans" cxnId="{BCFC6546-AAC7-4D87-AA70-1B14613F2661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956AD689-E34A-4222-94D2-E078C9B12A88}">
      <dgm:prSet phldrT="[Text]" custT="1"/>
      <dgm:spPr/>
      <dgm:t>
        <a:bodyPr/>
        <a:lstStyle/>
        <a:p>
          <a:r>
            <a:rPr lang="en-GB" sz="2000">
              <a:latin typeface="NBS Medium" panose="020B0603030303020204" pitchFamily="34" charset="0"/>
            </a:rPr>
            <a:t>Rules</a:t>
          </a:r>
        </a:p>
      </dgm:t>
    </dgm:pt>
    <dgm:pt modelId="{C16CAC7F-96F7-41EE-8D61-E7D4419D32CD}" type="parTrans" cxnId="{85DB1495-0555-40F5-BE94-BA4F122BEF29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7D2D0BE1-00C8-478E-8B3B-A080ACB84B69}" type="sibTrans" cxnId="{85DB1495-0555-40F5-BE94-BA4F122BEF29}">
      <dgm:prSet/>
      <dgm:spPr/>
      <dgm:t>
        <a:bodyPr/>
        <a:lstStyle/>
        <a:p>
          <a:endParaRPr lang="en-GB" sz="2000">
            <a:latin typeface="NBS Medium" panose="020B0603030303020204" pitchFamily="34" charset="0"/>
          </a:endParaRPr>
        </a:p>
      </dgm:t>
    </dgm:pt>
    <dgm:pt modelId="{47E70779-EF82-47F9-9BF0-9F919A2A3F54}" type="pres">
      <dgm:prSet presAssocID="{F46B6330-5E75-432B-9C2C-15613D723FC6}" presName="Name0" presStyleCnt="0">
        <dgm:presLayoutVars>
          <dgm:chMax val="1"/>
          <dgm:chPref val="1"/>
        </dgm:presLayoutVars>
      </dgm:prSet>
      <dgm:spPr/>
    </dgm:pt>
    <dgm:pt modelId="{44063191-FB3F-4E40-9FC6-ACE016F78E08}" type="pres">
      <dgm:prSet presAssocID="{5905D3F6-3B7E-424A-B582-3CB50859101D}" presName="Parent" presStyleLbl="node0" presStyleIdx="0" presStyleCnt="1">
        <dgm:presLayoutVars>
          <dgm:chMax val="5"/>
          <dgm:chPref val="5"/>
        </dgm:presLayoutVars>
      </dgm:prSet>
      <dgm:spPr/>
    </dgm:pt>
    <dgm:pt modelId="{39AA0C07-E39A-4DBC-A97A-30B289037C14}" type="pres">
      <dgm:prSet presAssocID="{5905D3F6-3B7E-424A-B582-3CB50859101D}" presName="Accent2" presStyleLbl="node1" presStyleIdx="0" presStyleCnt="19"/>
      <dgm:spPr/>
    </dgm:pt>
    <dgm:pt modelId="{DF17D2D1-5DD8-44FA-B7CA-42332A2AB829}" type="pres">
      <dgm:prSet presAssocID="{5905D3F6-3B7E-424A-B582-3CB50859101D}" presName="Accent3" presStyleLbl="node1" presStyleIdx="1" presStyleCnt="19"/>
      <dgm:spPr/>
    </dgm:pt>
    <dgm:pt modelId="{7A6ECA5F-B963-4D91-8640-881827922BEC}" type="pres">
      <dgm:prSet presAssocID="{5905D3F6-3B7E-424A-B582-3CB50859101D}" presName="Accent4" presStyleLbl="node1" presStyleIdx="2" presStyleCnt="19"/>
      <dgm:spPr/>
    </dgm:pt>
    <dgm:pt modelId="{C89234B6-7B9D-4A00-9211-CB24295C233F}" type="pres">
      <dgm:prSet presAssocID="{5905D3F6-3B7E-424A-B582-3CB50859101D}" presName="Accent5" presStyleLbl="node1" presStyleIdx="3" presStyleCnt="19"/>
      <dgm:spPr/>
    </dgm:pt>
    <dgm:pt modelId="{DA1895F3-2073-4B78-84AA-16BDA3F792C4}" type="pres">
      <dgm:prSet presAssocID="{5905D3F6-3B7E-424A-B582-3CB50859101D}" presName="Accent6" presStyleLbl="node1" presStyleIdx="4" presStyleCnt="19"/>
      <dgm:spPr/>
    </dgm:pt>
    <dgm:pt modelId="{2535811E-989F-4500-8149-8EC6B4481AC7}" type="pres">
      <dgm:prSet presAssocID="{956AD689-E34A-4222-94D2-E078C9B12A88}" presName="Child1" presStyleLbl="node1" presStyleIdx="5" presStyleCnt="19">
        <dgm:presLayoutVars>
          <dgm:chMax val="0"/>
          <dgm:chPref val="0"/>
        </dgm:presLayoutVars>
      </dgm:prSet>
      <dgm:spPr/>
    </dgm:pt>
    <dgm:pt modelId="{EE12F21A-F2EF-4818-A6D5-3EF3D7E43461}" type="pres">
      <dgm:prSet presAssocID="{956AD689-E34A-4222-94D2-E078C9B12A88}" presName="Accent7" presStyleCnt="0"/>
      <dgm:spPr/>
    </dgm:pt>
    <dgm:pt modelId="{4C59FE19-93BE-426C-BCA2-911C1D8045FC}" type="pres">
      <dgm:prSet presAssocID="{956AD689-E34A-4222-94D2-E078C9B12A88}" presName="AccentHold1" presStyleLbl="node1" presStyleIdx="6" presStyleCnt="19"/>
      <dgm:spPr/>
    </dgm:pt>
    <dgm:pt modelId="{60B9C492-10BB-4603-BF5E-10A88D24F2AA}" type="pres">
      <dgm:prSet presAssocID="{956AD689-E34A-4222-94D2-E078C9B12A88}" presName="Accent8" presStyleCnt="0"/>
      <dgm:spPr/>
    </dgm:pt>
    <dgm:pt modelId="{6E8AE616-D194-42ED-B56B-BB3300809F26}" type="pres">
      <dgm:prSet presAssocID="{956AD689-E34A-4222-94D2-E078C9B12A88}" presName="AccentHold2" presStyleLbl="node1" presStyleIdx="7" presStyleCnt="19"/>
      <dgm:spPr/>
    </dgm:pt>
    <dgm:pt modelId="{7022D93E-D51A-4187-8181-08CC87EA80B8}" type="pres">
      <dgm:prSet presAssocID="{BEEFCB3A-F258-4003-A7F3-96F9CD439152}" presName="Child2" presStyleLbl="node1" presStyleIdx="8" presStyleCnt="19" custScaleX="173221" custScaleY="173221" custLinFactNeighborX="10383" custLinFactNeighborY="23836">
        <dgm:presLayoutVars>
          <dgm:chMax val="0"/>
          <dgm:chPref val="0"/>
        </dgm:presLayoutVars>
      </dgm:prSet>
      <dgm:spPr/>
    </dgm:pt>
    <dgm:pt modelId="{CC6F13BE-FA3C-4AA4-B125-C775A1B33E1D}" type="pres">
      <dgm:prSet presAssocID="{BEEFCB3A-F258-4003-A7F3-96F9CD439152}" presName="Accent9" presStyleCnt="0"/>
      <dgm:spPr/>
    </dgm:pt>
    <dgm:pt modelId="{7516D459-AF40-4731-922B-13794E73C3E1}" type="pres">
      <dgm:prSet presAssocID="{BEEFCB3A-F258-4003-A7F3-96F9CD439152}" presName="AccentHold1" presStyleLbl="node1" presStyleIdx="9" presStyleCnt="19"/>
      <dgm:spPr/>
    </dgm:pt>
    <dgm:pt modelId="{D3F472D7-F082-4A5A-9BD5-9096F69779A6}" type="pres">
      <dgm:prSet presAssocID="{BEEFCB3A-F258-4003-A7F3-96F9CD439152}" presName="Accent10" presStyleCnt="0"/>
      <dgm:spPr/>
    </dgm:pt>
    <dgm:pt modelId="{40EF62D8-1176-47FF-8EE5-D37C1B8E2806}" type="pres">
      <dgm:prSet presAssocID="{BEEFCB3A-F258-4003-A7F3-96F9CD439152}" presName="AccentHold2" presStyleLbl="node1" presStyleIdx="10" presStyleCnt="19"/>
      <dgm:spPr/>
    </dgm:pt>
    <dgm:pt modelId="{FFBE313D-2DB6-4F01-A204-5134FF8362B8}" type="pres">
      <dgm:prSet presAssocID="{BEEFCB3A-F258-4003-A7F3-96F9CD439152}" presName="Accent11" presStyleCnt="0"/>
      <dgm:spPr/>
    </dgm:pt>
    <dgm:pt modelId="{17EDF2A1-599B-4BD6-AAD9-4891E1DD572B}" type="pres">
      <dgm:prSet presAssocID="{BEEFCB3A-F258-4003-A7F3-96F9CD439152}" presName="AccentHold3" presStyleLbl="node1" presStyleIdx="11" presStyleCnt="19"/>
      <dgm:spPr/>
    </dgm:pt>
    <dgm:pt modelId="{0C4B2F4A-FEE7-4E75-89CE-B9B4144B5EB2}" type="pres">
      <dgm:prSet presAssocID="{753A1A34-EBAF-4B04-8552-37A11A5057F3}" presName="Child3" presStyleLbl="node1" presStyleIdx="12" presStyleCnt="19" custScaleX="136043" custScaleY="136043" custLinFactNeighborX="6608" custLinFactNeighborY="-15970">
        <dgm:presLayoutVars>
          <dgm:chMax val="0"/>
          <dgm:chPref val="0"/>
        </dgm:presLayoutVars>
      </dgm:prSet>
      <dgm:spPr/>
    </dgm:pt>
    <dgm:pt modelId="{CDA7E8AC-B987-4E09-B9F7-68EFFA2225C0}" type="pres">
      <dgm:prSet presAssocID="{753A1A34-EBAF-4B04-8552-37A11A5057F3}" presName="Accent12" presStyleCnt="0"/>
      <dgm:spPr/>
    </dgm:pt>
    <dgm:pt modelId="{6A9D65EB-A555-4954-934F-0D5E3CE41E04}" type="pres">
      <dgm:prSet presAssocID="{753A1A34-EBAF-4B04-8552-37A11A5057F3}" presName="AccentHold1" presStyleLbl="node1" presStyleIdx="13" presStyleCnt="19"/>
      <dgm:spPr/>
    </dgm:pt>
    <dgm:pt modelId="{1F8B2253-EC01-4E17-A8B1-D665775CD18B}" type="pres">
      <dgm:prSet presAssocID="{C9218592-9568-4889-A857-26E79FAF3BD6}" presName="Child4" presStyleLbl="node1" presStyleIdx="14" presStyleCnt="19" custScaleX="180169" custScaleY="180170" custLinFactNeighborX="-75096" custLinFactNeighborY="-2936">
        <dgm:presLayoutVars>
          <dgm:chMax val="0"/>
          <dgm:chPref val="0"/>
        </dgm:presLayoutVars>
      </dgm:prSet>
      <dgm:spPr/>
    </dgm:pt>
    <dgm:pt modelId="{83C9D883-35AF-4EF2-AAAE-E97EE22C0470}" type="pres">
      <dgm:prSet presAssocID="{C9218592-9568-4889-A857-26E79FAF3BD6}" presName="Accent13" presStyleCnt="0"/>
      <dgm:spPr/>
    </dgm:pt>
    <dgm:pt modelId="{682BCB0A-2D5D-4DC0-8EFA-7B4A73D077E5}" type="pres">
      <dgm:prSet presAssocID="{C9218592-9568-4889-A857-26E79FAF3BD6}" presName="AccentHold1" presStyleLbl="node1" presStyleIdx="15" presStyleCnt="19"/>
      <dgm:spPr/>
    </dgm:pt>
    <dgm:pt modelId="{BF7C535E-9EF1-48EC-826A-4ED2E6E0C80F}" type="pres">
      <dgm:prSet presAssocID="{1C8099E2-3F00-4B28-8984-5618FC3CE0F7}" presName="Child5" presStyleLbl="node1" presStyleIdx="16" presStyleCnt="19" custScaleX="179344" custScaleY="179343" custLinFactNeighborX="23823" custLinFactNeighborY="-14158">
        <dgm:presLayoutVars>
          <dgm:chMax val="0"/>
          <dgm:chPref val="0"/>
        </dgm:presLayoutVars>
      </dgm:prSet>
      <dgm:spPr/>
    </dgm:pt>
    <dgm:pt modelId="{0CB9FA4B-7806-477D-B31C-8435A05F4877}" type="pres">
      <dgm:prSet presAssocID="{1C8099E2-3F00-4B28-8984-5618FC3CE0F7}" presName="Accent15" presStyleCnt="0"/>
      <dgm:spPr/>
    </dgm:pt>
    <dgm:pt modelId="{EDAEEF85-AE6C-4DC1-B331-D3DD37BB9E99}" type="pres">
      <dgm:prSet presAssocID="{1C8099E2-3F00-4B28-8984-5618FC3CE0F7}" presName="AccentHold2" presStyleLbl="node1" presStyleIdx="17" presStyleCnt="19"/>
      <dgm:spPr/>
    </dgm:pt>
    <dgm:pt modelId="{7F805503-0D6F-4D9D-BBFB-2B7C9CCD991F}" type="pres">
      <dgm:prSet presAssocID="{1C8099E2-3F00-4B28-8984-5618FC3CE0F7}" presName="Accent16" presStyleCnt="0"/>
      <dgm:spPr/>
    </dgm:pt>
    <dgm:pt modelId="{BDA9DADD-5B3E-4097-95AA-8C1962D86D33}" type="pres">
      <dgm:prSet presAssocID="{1C8099E2-3F00-4B28-8984-5618FC3CE0F7}" presName="AccentHold3" presStyleLbl="node1" presStyleIdx="18" presStyleCnt="19"/>
      <dgm:spPr/>
    </dgm:pt>
  </dgm:ptLst>
  <dgm:cxnLst>
    <dgm:cxn modelId="{C5A66512-51E6-4911-9A13-107418DDD346}" type="presOf" srcId="{BEEFCB3A-F258-4003-A7F3-96F9CD439152}" destId="{7022D93E-D51A-4187-8181-08CC87EA80B8}" srcOrd="0" destOrd="0" presId="urn:microsoft.com/office/officeart/2009/3/layout/CircleRelationship"/>
    <dgm:cxn modelId="{FD01E926-B534-4DCF-A9CB-0B529C8B406C}" type="presOf" srcId="{F46B6330-5E75-432B-9C2C-15613D723FC6}" destId="{47E70779-EF82-47F9-9BF0-9F919A2A3F54}" srcOrd="0" destOrd="0" presId="urn:microsoft.com/office/officeart/2009/3/layout/CircleRelationship"/>
    <dgm:cxn modelId="{9844E539-02AA-4C54-B317-4B036FE449CE}" srcId="{F46B6330-5E75-432B-9C2C-15613D723FC6}" destId="{5905D3F6-3B7E-424A-B582-3CB50859101D}" srcOrd="0" destOrd="0" parTransId="{D68EF988-610B-4C3D-BC2E-31B88A5B37FF}" sibTransId="{7D88A045-E63B-4989-95E8-244D1F212E9D}"/>
    <dgm:cxn modelId="{3289B041-DCE2-41CA-BEBF-47F9A451397A}" srcId="{5905D3F6-3B7E-424A-B582-3CB50859101D}" destId="{753A1A34-EBAF-4B04-8552-37A11A5057F3}" srcOrd="2" destOrd="0" parTransId="{6742205E-14F8-4C42-8040-767C30BAF23F}" sibTransId="{BE6F4F2B-4E8B-46D5-9EAF-5FCB91E001A5}"/>
    <dgm:cxn modelId="{BCFC6546-AAC7-4D87-AA70-1B14613F2661}" srcId="{5905D3F6-3B7E-424A-B582-3CB50859101D}" destId="{1C8099E2-3F00-4B28-8984-5618FC3CE0F7}" srcOrd="4" destOrd="0" parTransId="{7CD57B11-1EDC-46A1-8511-8685B4A35036}" sibTransId="{C58C0AA4-6131-43A7-B035-A29889DE7FAC}"/>
    <dgm:cxn modelId="{57712D6B-736A-4B73-AF8C-5A352545162E}" type="presOf" srcId="{5905D3F6-3B7E-424A-B582-3CB50859101D}" destId="{44063191-FB3F-4E40-9FC6-ACE016F78E08}" srcOrd="0" destOrd="0" presId="urn:microsoft.com/office/officeart/2009/3/layout/CircleRelationship"/>
    <dgm:cxn modelId="{2560E188-8203-4F26-BF65-0ABDE47408FF}" type="presOf" srcId="{1C8099E2-3F00-4B28-8984-5618FC3CE0F7}" destId="{BF7C535E-9EF1-48EC-826A-4ED2E6E0C80F}" srcOrd="0" destOrd="0" presId="urn:microsoft.com/office/officeart/2009/3/layout/CircleRelationship"/>
    <dgm:cxn modelId="{6B80E192-692D-4B1B-8EA7-7086992BAEB6}" srcId="{5905D3F6-3B7E-424A-B582-3CB50859101D}" destId="{C9218592-9568-4889-A857-26E79FAF3BD6}" srcOrd="3" destOrd="0" parTransId="{BDE9B296-E371-4356-874F-0D5179E4286E}" sibTransId="{249E8563-2283-4371-B250-E5466ADA32A1}"/>
    <dgm:cxn modelId="{6C489393-8A28-4BF6-A468-231B305618DE}" type="presOf" srcId="{C9218592-9568-4889-A857-26E79FAF3BD6}" destId="{1F8B2253-EC01-4E17-A8B1-D665775CD18B}" srcOrd="0" destOrd="0" presId="urn:microsoft.com/office/officeart/2009/3/layout/CircleRelationship"/>
    <dgm:cxn modelId="{85DB1495-0555-40F5-BE94-BA4F122BEF29}" srcId="{5905D3F6-3B7E-424A-B582-3CB50859101D}" destId="{956AD689-E34A-4222-94D2-E078C9B12A88}" srcOrd="0" destOrd="0" parTransId="{C16CAC7F-96F7-41EE-8D61-E7D4419D32CD}" sibTransId="{7D2D0BE1-00C8-478E-8B3B-A080ACB84B69}"/>
    <dgm:cxn modelId="{C718D99A-100A-4A2B-8AE8-459410703B38}" type="presOf" srcId="{753A1A34-EBAF-4B04-8552-37A11A5057F3}" destId="{0C4B2F4A-FEE7-4E75-89CE-B9B4144B5EB2}" srcOrd="0" destOrd="0" presId="urn:microsoft.com/office/officeart/2009/3/layout/CircleRelationship"/>
    <dgm:cxn modelId="{31160AA5-89EA-4AE3-AA68-BAFF1F97E60E}" srcId="{5905D3F6-3B7E-424A-B582-3CB50859101D}" destId="{BEEFCB3A-F258-4003-A7F3-96F9CD439152}" srcOrd="1" destOrd="0" parTransId="{42CC1195-AC45-4523-AB00-6D66702E6E14}" sibTransId="{95D493F9-F712-4E51-B983-80FD7A2381AD}"/>
    <dgm:cxn modelId="{8D12E1BD-1E31-42E6-83FB-64CA363BAABA}" type="presOf" srcId="{956AD689-E34A-4222-94D2-E078C9B12A88}" destId="{2535811E-989F-4500-8149-8EC6B4481AC7}" srcOrd="0" destOrd="0" presId="urn:microsoft.com/office/officeart/2009/3/layout/CircleRelationship"/>
    <dgm:cxn modelId="{B152BB80-0288-490F-84EC-1755BBDBE91F}" type="presParOf" srcId="{47E70779-EF82-47F9-9BF0-9F919A2A3F54}" destId="{44063191-FB3F-4E40-9FC6-ACE016F78E08}" srcOrd="0" destOrd="0" presId="urn:microsoft.com/office/officeart/2009/3/layout/CircleRelationship"/>
    <dgm:cxn modelId="{08616033-98C1-4291-99C1-084A12A94ECC}" type="presParOf" srcId="{47E70779-EF82-47F9-9BF0-9F919A2A3F54}" destId="{39AA0C07-E39A-4DBC-A97A-30B289037C14}" srcOrd="1" destOrd="0" presId="urn:microsoft.com/office/officeart/2009/3/layout/CircleRelationship"/>
    <dgm:cxn modelId="{349F16FE-2DCB-4ECB-B22B-23D0A2DC626B}" type="presParOf" srcId="{47E70779-EF82-47F9-9BF0-9F919A2A3F54}" destId="{DF17D2D1-5DD8-44FA-B7CA-42332A2AB829}" srcOrd="2" destOrd="0" presId="urn:microsoft.com/office/officeart/2009/3/layout/CircleRelationship"/>
    <dgm:cxn modelId="{62F57181-05E6-4CE4-9E14-7AE4275E6FAE}" type="presParOf" srcId="{47E70779-EF82-47F9-9BF0-9F919A2A3F54}" destId="{7A6ECA5F-B963-4D91-8640-881827922BEC}" srcOrd="3" destOrd="0" presId="urn:microsoft.com/office/officeart/2009/3/layout/CircleRelationship"/>
    <dgm:cxn modelId="{0297EF85-BB6B-459C-8C39-7A249E893AF4}" type="presParOf" srcId="{47E70779-EF82-47F9-9BF0-9F919A2A3F54}" destId="{C89234B6-7B9D-4A00-9211-CB24295C233F}" srcOrd="4" destOrd="0" presId="urn:microsoft.com/office/officeart/2009/3/layout/CircleRelationship"/>
    <dgm:cxn modelId="{B9C1DE42-A8CF-4750-9A37-A568AFD257D8}" type="presParOf" srcId="{47E70779-EF82-47F9-9BF0-9F919A2A3F54}" destId="{DA1895F3-2073-4B78-84AA-16BDA3F792C4}" srcOrd="5" destOrd="0" presId="urn:microsoft.com/office/officeart/2009/3/layout/CircleRelationship"/>
    <dgm:cxn modelId="{965FE7BC-D519-40A0-A71F-EA4E0E270B8E}" type="presParOf" srcId="{47E70779-EF82-47F9-9BF0-9F919A2A3F54}" destId="{2535811E-989F-4500-8149-8EC6B4481AC7}" srcOrd="6" destOrd="0" presId="urn:microsoft.com/office/officeart/2009/3/layout/CircleRelationship"/>
    <dgm:cxn modelId="{C25BDC3B-4FF3-48E4-B5D0-AD5B793D9A9C}" type="presParOf" srcId="{47E70779-EF82-47F9-9BF0-9F919A2A3F54}" destId="{EE12F21A-F2EF-4818-A6D5-3EF3D7E43461}" srcOrd="7" destOrd="0" presId="urn:microsoft.com/office/officeart/2009/3/layout/CircleRelationship"/>
    <dgm:cxn modelId="{FBF5FFD6-D4BA-48F1-9824-CB8A3FFE5C02}" type="presParOf" srcId="{EE12F21A-F2EF-4818-A6D5-3EF3D7E43461}" destId="{4C59FE19-93BE-426C-BCA2-911C1D8045FC}" srcOrd="0" destOrd="0" presId="urn:microsoft.com/office/officeart/2009/3/layout/CircleRelationship"/>
    <dgm:cxn modelId="{1682873E-1A75-4BD7-A25B-135956CEFE66}" type="presParOf" srcId="{47E70779-EF82-47F9-9BF0-9F919A2A3F54}" destId="{60B9C492-10BB-4603-BF5E-10A88D24F2AA}" srcOrd="8" destOrd="0" presId="urn:microsoft.com/office/officeart/2009/3/layout/CircleRelationship"/>
    <dgm:cxn modelId="{9F3BF32D-F643-4B8E-9DC3-050823E02189}" type="presParOf" srcId="{60B9C492-10BB-4603-BF5E-10A88D24F2AA}" destId="{6E8AE616-D194-42ED-B56B-BB3300809F26}" srcOrd="0" destOrd="0" presId="urn:microsoft.com/office/officeart/2009/3/layout/CircleRelationship"/>
    <dgm:cxn modelId="{E36963DD-1ADE-4E23-9A68-DDF2092987EE}" type="presParOf" srcId="{47E70779-EF82-47F9-9BF0-9F919A2A3F54}" destId="{7022D93E-D51A-4187-8181-08CC87EA80B8}" srcOrd="9" destOrd="0" presId="urn:microsoft.com/office/officeart/2009/3/layout/CircleRelationship"/>
    <dgm:cxn modelId="{390F06D1-B04F-4B00-901A-C3E71326F2CB}" type="presParOf" srcId="{47E70779-EF82-47F9-9BF0-9F919A2A3F54}" destId="{CC6F13BE-FA3C-4AA4-B125-C775A1B33E1D}" srcOrd="10" destOrd="0" presId="urn:microsoft.com/office/officeart/2009/3/layout/CircleRelationship"/>
    <dgm:cxn modelId="{136146D6-C96A-466A-AF3B-59DDF6BD2D09}" type="presParOf" srcId="{CC6F13BE-FA3C-4AA4-B125-C775A1B33E1D}" destId="{7516D459-AF40-4731-922B-13794E73C3E1}" srcOrd="0" destOrd="0" presId="urn:microsoft.com/office/officeart/2009/3/layout/CircleRelationship"/>
    <dgm:cxn modelId="{69EA0000-AB56-4C67-B241-6CAABBEC7A8B}" type="presParOf" srcId="{47E70779-EF82-47F9-9BF0-9F919A2A3F54}" destId="{D3F472D7-F082-4A5A-9BD5-9096F69779A6}" srcOrd="11" destOrd="0" presId="urn:microsoft.com/office/officeart/2009/3/layout/CircleRelationship"/>
    <dgm:cxn modelId="{BB4C4B8E-C4B5-4761-BD84-9B88829DA728}" type="presParOf" srcId="{D3F472D7-F082-4A5A-9BD5-9096F69779A6}" destId="{40EF62D8-1176-47FF-8EE5-D37C1B8E2806}" srcOrd="0" destOrd="0" presId="urn:microsoft.com/office/officeart/2009/3/layout/CircleRelationship"/>
    <dgm:cxn modelId="{07A8C86B-05D1-4C5C-A2D2-4330EC702C6C}" type="presParOf" srcId="{47E70779-EF82-47F9-9BF0-9F919A2A3F54}" destId="{FFBE313D-2DB6-4F01-A204-5134FF8362B8}" srcOrd="12" destOrd="0" presId="urn:microsoft.com/office/officeart/2009/3/layout/CircleRelationship"/>
    <dgm:cxn modelId="{080D6C08-7E4E-4899-ABFB-B66E8A90BC39}" type="presParOf" srcId="{FFBE313D-2DB6-4F01-A204-5134FF8362B8}" destId="{17EDF2A1-599B-4BD6-AAD9-4891E1DD572B}" srcOrd="0" destOrd="0" presId="urn:microsoft.com/office/officeart/2009/3/layout/CircleRelationship"/>
    <dgm:cxn modelId="{29B8B3F6-8DC1-4001-AA01-EA6C3079F014}" type="presParOf" srcId="{47E70779-EF82-47F9-9BF0-9F919A2A3F54}" destId="{0C4B2F4A-FEE7-4E75-89CE-B9B4144B5EB2}" srcOrd="13" destOrd="0" presId="urn:microsoft.com/office/officeart/2009/3/layout/CircleRelationship"/>
    <dgm:cxn modelId="{D9109CF4-A42B-4833-BBE8-41DC7CEAE622}" type="presParOf" srcId="{47E70779-EF82-47F9-9BF0-9F919A2A3F54}" destId="{CDA7E8AC-B987-4E09-B9F7-68EFFA2225C0}" srcOrd="14" destOrd="0" presId="urn:microsoft.com/office/officeart/2009/3/layout/CircleRelationship"/>
    <dgm:cxn modelId="{6D2D702B-EAE4-4EE3-8251-FE5AE7CDB8F9}" type="presParOf" srcId="{CDA7E8AC-B987-4E09-B9F7-68EFFA2225C0}" destId="{6A9D65EB-A555-4954-934F-0D5E3CE41E04}" srcOrd="0" destOrd="0" presId="urn:microsoft.com/office/officeart/2009/3/layout/CircleRelationship"/>
    <dgm:cxn modelId="{13F45CC7-241D-478B-B0EA-E76FF346B8A1}" type="presParOf" srcId="{47E70779-EF82-47F9-9BF0-9F919A2A3F54}" destId="{1F8B2253-EC01-4E17-A8B1-D665775CD18B}" srcOrd="15" destOrd="0" presId="urn:microsoft.com/office/officeart/2009/3/layout/CircleRelationship"/>
    <dgm:cxn modelId="{EE13F07F-CD0E-41DC-BD82-7EB64F166C0C}" type="presParOf" srcId="{47E70779-EF82-47F9-9BF0-9F919A2A3F54}" destId="{83C9D883-35AF-4EF2-AAAE-E97EE22C0470}" srcOrd="16" destOrd="0" presId="urn:microsoft.com/office/officeart/2009/3/layout/CircleRelationship"/>
    <dgm:cxn modelId="{41BA2F18-CE7F-48D1-BC8B-D8ECBF074ACA}" type="presParOf" srcId="{83C9D883-35AF-4EF2-AAAE-E97EE22C0470}" destId="{682BCB0A-2D5D-4DC0-8EFA-7B4A73D077E5}" srcOrd="0" destOrd="0" presId="urn:microsoft.com/office/officeart/2009/3/layout/CircleRelationship"/>
    <dgm:cxn modelId="{CD58FFE4-67A7-49DC-B1C0-D2FFB1DAD9C6}" type="presParOf" srcId="{47E70779-EF82-47F9-9BF0-9F919A2A3F54}" destId="{BF7C535E-9EF1-48EC-826A-4ED2E6E0C80F}" srcOrd="17" destOrd="0" presId="urn:microsoft.com/office/officeart/2009/3/layout/CircleRelationship"/>
    <dgm:cxn modelId="{310FAE3E-B50C-40C6-8EAA-371F707FA8DA}" type="presParOf" srcId="{47E70779-EF82-47F9-9BF0-9F919A2A3F54}" destId="{0CB9FA4B-7806-477D-B31C-8435A05F4877}" srcOrd="18" destOrd="0" presId="urn:microsoft.com/office/officeart/2009/3/layout/CircleRelationship"/>
    <dgm:cxn modelId="{17B5880D-C29D-4930-A960-EE40FB240F1B}" type="presParOf" srcId="{0CB9FA4B-7806-477D-B31C-8435A05F4877}" destId="{EDAEEF85-AE6C-4DC1-B331-D3DD37BB9E99}" srcOrd="0" destOrd="0" presId="urn:microsoft.com/office/officeart/2009/3/layout/CircleRelationship"/>
    <dgm:cxn modelId="{106B57B2-D596-4F2A-9693-904E373858BA}" type="presParOf" srcId="{47E70779-EF82-47F9-9BF0-9F919A2A3F54}" destId="{7F805503-0D6F-4D9D-BBFB-2B7C9CCD991F}" srcOrd="19" destOrd="0" presId="urn:microsoft.com/office/officeart/2009/3/layout/CircleRelationship"/>
    <dgm:cxn modelId="{180B291D-B91D-42EF-82D3-38CD57CD7455}" type="presParOf" srcId="{7F805503-0D6F-4D9D-BBFB-2B7C9CCD991F}" destId="{BDA9DADD-5B3E-4097-95AA-8C1962D86D33}" srcOrd="0" destOrd="0" presId="urn:microsoft.com/office/officeart/2009/3/layout/CircleRelationship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BEF2CA-4E97-4013-BECE-41EE8364607D}">
      <dsp:nvSpPr>
        <dsp:cNvPr id="0" name=""/>
        <dsp:cNvSpPr/>
      </dsp:nvSpPr>
      <dsp:spPr>
        <a:xfrm>
          <a:off x="3136" y="2263392"/>
          <a:ext cx="1453867" cy="1453867"/>
        </a:xfrm>
        <a:prstGeom prst="donut">
          <a:avLst>
            <a:gd name="adj" fmla="val 20000"/>
          </a:avLst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3CB293-0FE7-4525-9F0A-41A1BE592887}">
      <dsp:nvSpPr>
        <dsp:cNvPr id="0" name=""/>
        <dsp:cNvSpPr/>
      </dsp:nvSpPr>
      <dsp:spPr>
        <a:xfrm rot="17700000">
          <a:off x="515413" y="1078193"/>
          <a:ext cx="1807318" cy="8709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0" rIns="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accent6"/>
              </a:solidFill>
              <a:latin typeface="NBS Light"/>
            </a:rPr>
            <a:t>Formal project methodology</a:t>
          </a:r>
        </a:p>
      </dsp:txBody>
      <dsp:txXfrm>
        <a:off x="515413" y="1078193"/>
        <a:ext cx="1807318" cy="870988"/>
      </dsp:txXfrm>
    </dsp:sp>
    <dsp:sp modelId="{BFFD1C97-79DB-4068-B9EE-1F2EFE666EF1}">
      <dsp:nvSpPr>
        <dsp:cNvPr id="0" name=""/>
        <dsp:cNvSpPr/>
      </dsp:nvSpPr>
      <dsp:spPr>
        <a:xfrm>
          <a:off x="1566514" y="2613001"/>
          <a:ext cx="754649" cy="754649"/>
        </a:xfrm>
        <a:prstGeom prst="ellipse">
          <a:avLst/>
        </a:prstGeom>
        <a:solidFill>
          <a:schemeClr val="accent5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9B394D-79A6-4E5F-81DA-60261B2F4021}">
      <dsp:nvSpPr>
        <dsp:cNvPr id="0" name=""/>
        <dsp:cNvSpPr/>
      </dsp:nvSpPr>
      <dsp:spPr>
        <a:xfrm rot="17700000">
          <a:off x="672735" y="3663353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50800" bIns="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solidFill>
                <a:schemeClr val="accent6"/>
              </a:solidFill>
              <a:latin typeface="NBS Light"/>
            </a:rPr>
            <a:t>Early Agile Successes</a:t>
          </a:r>
        </a:p>
      </dsp:txBody>
      <dsp:txXfrm>
        <a:off x="672735" y="3663353"/>
        <a:ext cx="1563415" cy="753820"/>
      </dsp:txXfrm>
    </dsp:sp>
    <dsp:sp modelId="{7452ADB3-2078-4DF6-B4C0-DC813575339A}">
      <dsp:nvSpPr>
        <dsp:cNvPr id="0" name=""/>
        <dsp:cNvSpPr/>
      </dsp:nvSpPr>
      <dsp:spPr>
        <a:xfrm rot="17700000">
          <a:off x="1651526" y="1563477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DD86DC-5CE0-4A91-8ABD-60F1AC640F94}">
      <dsp:nvSpPr>
        <dsp:cNvPr id="0" name=""/>
        <dsp:cNvSpPr/>
      </dsp:nvSpPr>
      <dsp:spPr>
        <a:xfrm>
          <a:off x="2430673" y="2263392"/>
          <a:ext cx="1453867" cy="1453867"/>
        </a:xfrm>
        <a:prstGeom prst="donut">
          <a:avLst>
            <a:gd name="adj" fmla="val 200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2A2977-64E1-4279-8804-9392B4FB27ED}">
      <dsp:nvSpPr>
        <dsp:cNvPr id="0" name=""/>
        <dsp:cNvSpPr/>
      </dsp:nvSpPr>
      <dsp:spPr>
        <a:xfrm rot="17700000">
          <a:off x="2942951" y="1078193"/>
          <a:ext cx="1807318" cy="8709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0" rIns="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solidFill>
                <a:schemeClr val="accent6"/>
              </a:solidFill>
              <a:latin typeface="NBS Light"/>
            </a:rPr>
            <a:t>Adaptive Change Framework</a:t>
          </a:r>
        </a:p>
      </dsp:txBody>
      <dsp:txXfrm>
        <a:off x="2942951" y="1078193"/>
        <a:ext cx="1807318" cy="870988"/>
      </dsp:txXfrm>
    </dsp:sp>
    <dsp:sp modelId="{BAB54BC1-DBDB-4692-8B9A-C81129A4AA0D}">
      <dsp:nvSpPr>
        <dsp:cNvPr id="0" name=""/>
        <dsp:cNvSpPr/>
      </dsp:nvSpPr>
      <dsp:spPr>
        <a:xfrm>
          <a:off x="3994051" y="2613001"/>
          <a:ext cx="754649" cy="754649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8DBB6F-7150-4B10-9FCF-00D9AAD86A2E}">
      <dsp:nvSpPr>
        <dsp:cNvPr id="0" name=""/>
        <dsp:cNvSpPr/>
      </dsp:nvSpPr>
      <dsp:spPr>
        <a:xfrm rot="17700000">
          <a:off x="3100273" y="3663353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50800" bIns="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solidFill>
                <a:schemeClr val="accent6"/>
              </a:solidFill>
              <a:latin typeface="NBS Light"/>
            </a:rPr>
            <a:t>Standards</a:t>
          </a:r>
        </a:p>
      </dsp:txBody>
      <dsp:txXfrm>
        <a:off x="3100273" y="3663353"/>
        <a:ext cx="1563415" cy="753820"/>
      </dsp:txXfrm>
    </dsp:sp>
    <dsp:sp modelId="{2A99CE41-994D-4383-A778-4CDBA1815548}">
      <dsp:nvSpPr>
        <dsp:cNvPr id="0" name=""/>
        <dsp:cNvSpPr/>
      </dsp:nvSpPr>
      <dsp:spPr>
        <a:xfrm rot="17700000">
          <a:off x="4079064" y="1563477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3D4741-6D6A-4676-BB4A-25D36E1E2ACE}">
      <dsp:nvSpPr>
        <dsp:cNvPr id="0" name=""/>
        <dsp:cNvSpPr/>
      </dsp:nvSpPr>
      <dsp:spPr>
        <a:xfrm>
          <a:off x="4858095" y="2613001"/>
          <a:ext cx="754649" cy="754649"/>
        </a:xfrm>
        <a:prstGeom prst="ellipse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D30138-EDE6-4E07-9858-1FF84B51885C}">
      <dsp:nvSpPr>
        <dsp:cNvPr id="0" name=""/>
        <dsp:cNvSpPr/>
      </dsp:nvSpPr>
      <dsp:spPr>
        <a:xfrm rot="17700000">
          <a:off x="3964316" y="3663353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50800" bIns="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solidFill>
                <a:schemeClr val="accent6"/>
              </a:solidFill>
              <a:latin typeface="NBS Light"/>
            </a:rPr>
            <a:t>Guardrails</a:t>
          </a:r>
        </a:p>
      </dsp:txBody>
      <dsp:txXfrm>
        <a:off x="3964316" y="3663353"/>
        <a:ext cx="1563415" cy="753820"/>
      </dsp:txXfrm>
    </dsp:sp>
    <dsp:sp modelId="{59EDD76F-5E91-45E5-A217-EEBDADE3917D}">
      <dsp:nvSpPr>
        <dsp:cNvPr id="0" name=""/>
        <dsp:cNvSpPr/>
      </dsp:nvSpPr>
      <dsp:spPr>
        <a:xfrm rot="17700000">
          <a:off x="4943107" y="1563477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7CDBB5-7F62-498D-8714-BDE249F48BD4}">
      <dsp:nvSpPr>
        <dsp:cNvPr id="0" name=""/>
        <dsp:cNvSpPr/>
      </dsp:nvSpPr>
      <dsp:spPr>
        <a:xfrm>
          <a:off x="5722139" y="2613001"/>
          <a:ext cx="754649" cy="754649"/>
        </a:xfrm>
        <a:prstGeom prst="ellipse">
          <a:avLst/>
        </a:prstGeom>
        <a:solidFill>
          <a:srgbClr val="FF9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5BF680-402A-4784-856D-C38DC3132C4A}">
      <dsp:nvSpPr>
        <dsp:cNvPr id="0" name=""/>
        <dsp:cNvSpPr/>
      </dsp:nvSpPr>
      <dsp:spPr>
        <a:xfrm rot="17700000">
          <a:off x="4828360" y="3663353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50800" bIns="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solidFill>
                <a:schemeClr val="accent6"/>
              </a:solidFill>
              <a:latin typeface="NBS Light"/>
            </a:rPr>
            <a:t>Checklists</a:t>
          </a:r>
        </a:p>
      </dsp:txBody>
      <dsp:txXfrm>
        <a:off x="4828360" y="3663353"/>
        <a:ext cx="1563415" cy="753820"/>
      </dsp:txXfrm>
    </dsp:sp>
    <dsp:sp modelId="{4F280412-E9C1-4826-8DF5-6C66FE68F4A6}">
      <dsp:nvSpPr>
        <dsp:cNvPr id="0" name=""/>
        <dsp:cNvSpPr/>
      </dsp:nvSpPr>
      <dsp:spPr>
        <a:xfrm rot="17700000">
          <a:off x="5807151" y="1563477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E2F7E4-C883-43EB-BD76-77115CA1956C}">
      <dsp:nvSpPr>
        <dsp:cNvPr id="0" name=""/>
        <dsp:cNvSpPr/>
      </dsp:nvSpPr>
      <dsp:spPr>
        <a:xfrm>
          <a:off x="6586182" y="2613001"/>
          <a:ext cx="754649" cy="754649"/>
        </a:xfrm>
        <a:prstGeom prst="ellipse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EA524A-74F6-44A2-86F2-4F0A94CFB5AF}">
      <dsp:nvSpPr>
        <dsp:cNvPr id="0" name=""/>
        <dsp:cNvSpPr/>
      </dsp:nvSpPr>
      <dsp:spPr>
        <a:xfrm rot="17700000">
          <a:off x="5692403" y="3663353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50800" bIns="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solidFill>
                <a:schemeClr val="accent6"/>
              </a:solidFill>
              <a:latin typeface="NBS Light"/>
            </a:rPr>
            <a:t>Assessments</a:t>
          </a:r>
        </a:p>
      </dsp:txBody>
      <dsp:txXfrm>
        <a:off x="5692403" y="3663353"/>
        <a:ext cx="1563415" cy="753820"/>
      </dsp:txXfrm>
    </dsp:sp>
    <dsp:sp modelId="{EA636DDC-8410-4791-87D9-D2BB63968C8A}">
      <dsp:nvSpPr>
        <dsp:cNvPr id="0" name=""/>
        <dsp:cNvSpPr/>
      </dsp:nvSpPr>
      <dsp:spPr>
        <a:xfrm rot="17700000">
          <a:off x="6671195" y="1563477"/>
          <a:ext cx="1563415" cy="75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BEF2CA-4E97-4013-BECE-41EE8364607D}">
      <dsp:nvSpPr>
        <dsp:cNvPr id="0" name=""/>
        <dsp:cNvSpPr/>
      </dsp:nvSpPr>
      <dsp:spPr>
        <a:xfrm>
          <a:off x="7902" y="4677908"/>
          <a:ext cx="2454879" cy="2454879"/>
        </a:xfrm>
        <a:prstGeom prst="donut">
          <a:avLst>
            <a:gd name="adj" fmla="val 20000"/>
          </a:avLst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3CB293-0FE7-4525-9F0A-41A1BE592887}">
      <dsp:nvSpPr>
        <dsp:cNvPr id="0" name=""/>
        <dsp:cNvSpPr/>
      </dsp:nvSpPr>
      <dsp:spPr>
        <a:xfrm rot="17700000">
          <a:off x="872891" y="2676680"/>
          <a:ext cx="3051688" cy="14706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520" tIns="0" rIns="0" bIns="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800" kern="1200">
              <a:solidFill>
                <a:schemeClr val="accent6"/>
              </a:solidFill>
              <a:latin typeface="NBS Light"/>
            </a:rPr>
            <a:t>Formal project methodology</a:t>
          </a:r>
        </a:p>
      </dsp:txBody>
      <dsp:txXfrm>
        <a:off x="872891" y="2676680"/>
        <a:ext cx="3051688" cy="1470678"/>
      </dsp:txXfrm>
    </dsp:sp>
    <dsp:sp modelId="{BFFD1C97-79DB-4068-B9EE-1F2EFE666EF1}">
      <dsp:nvSpPr>
        <dsp:cNvPr id="0" name=""/>
        <dsp:cNvSpPr/>
      </dsp:nvSpPr>
      <dsp:spPr>
        <a:xfrm>
          <a:off x="2647692" y="5268229"/>
          <a:ext cx="1274238" cy="1274238"/>
        </a:xfrm>
        <a:prstGeom prst="ellipse">
          <a:avLst/>
        </a:prstGeom>
        <a:solidFill>
          <a:schemeClr val="accent5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9B394D-79A6-4E5F-81DA-60261B2F4021}">
      <dsp:nvSpPr>
        <dsp:cNvPr id="0" name=""/>
        <dsp:cNvSpPr/>
      </dsp:nvSpPr>
      <dsp:spPr>
        <a:xfrm rot="17700000">
          <a:off x="1138531" y="7041767"/>
          <a:ext cx="2639854" cy="12728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1440" bIns="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>
              <a:solidFill>
                <a:schemeClr val="accent6"/>
              </a:solidFill>
              <a:latin typeface="NBS Light"/>
            </a:rPr>
            <a:t>Early Agile Successes</a:t>
          </a:r>
        </a:p>
      </dsp:txBody>
      <dsp:txXfrm>
        <a:off x="1138531" y="7041767"/>
        <a:ext cx="2639854" cy="1272838"/>
      </dsp:txXfrm>
    </dsp:sp>
    <dsp:sp modelId="{7452ADB3-2078-4DF6-B4C0-DC813575339A}">
      <dsp:nvSpPr>
        <dsp:cNvPr id="0" name=""/>
        <dsp:cNvSpPr/>
      </dsp:nvSpPr>
      <dsp:spPr>
        <a:xfrm rot="17700000">
          <a:off x="2791237" y="3496090"/>
          <a:ext cx="2639854" cy="12728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DD86DC-5CE0-4A91-8ABD-60F1AC640F94}">
      <dsp:nvSpPr>
        <dsp:cNvPr id="0" name=""/>
        <dsp:cNvSpPr/>
      </dsp:nvSpPr>
      <dsp:spPr>
        <a:xfrm>
          <a:off x="4106840" y="4677908"/>
          <a:ext cx="2454879" cy="2454879"/>
        </a:xfrm>
        <a:prstGeom prst="donut">
          <a:avLst>
            <a:gd name="adj" fmla="val 200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2A2977-64E1-4279-8804-9392B4FB27ED}">
      <dsp:nvSpPr>
        <dsp:cNvPr id="0" name=""/>
        <dsp:cNvSpPr/>
      </dsp:nvSpPr>
      <dsp:spPr>
        <a:xfrm rot="17700000">
          <a:off x="4971829" y="2676680"/>
          <a:ext cx="3051688" cy="14706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520" tIns="0" rIns="0" bIns="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800" kern="1200">
              <a:solidFill>
                <a:schemeClr val="accent6"/>
              </a:solidFill>
              <a:latin typeface="NBS Light"/>
            </a:rPr>
            <a:t>Adaptive Change Framework</a:t>
          </a:r>
        </a:p>
      </dsp:txBody>
      <dsp:txXfrm>
        <a:off x="4971829" y="2676680"/>
        <a:ext cx="3051688" cy="1470678"/>
      </dsp:txXfrm>
    </dsp:sp>
    <dsp:sp modelId="{BAB54BC1-DBDB-4692-8B9A-C81129A4AA0D}">
      <dsp:nvSpPr>
        <dsp:cNvPr id="0" name=""/>
        <dsp:cNvSpPr/>
      </dsp:nvSpPr>
      <dsp:spPr>
        <a:xfrm>
          <a:off x="6746631" y="5268229"/>
          <a:ext cx="1274238" cy="1274238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8DBB6F-7150-4B10-9FCF-00D9AAD86A2E}">
      <dsp:nvSpPr>
        <dsp:cNvPr id="0" name=""/>
        <dsp:cNvSpPr/>
      </dsp:nvSpPr>
      <dsp:spPr>
        <a:xfrm rot="17700000">
          <a:off x="5237470" y="7041767"/>
          <a:ext cx="2639854" cy="12728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1440" bIns="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>
              <a:solidFill>
                <a:schemeClr val="accent6"/>
              </a:solidFill>
              <a:latin typeface="NBS Light"/>
            </a:rPr>
            <a:t>Standards</a:t>
          </a:r>
        </a:p>
      </dsp:txBody>
      <dsp:txXfrm>
        <a:off x="5237470" y="7041767"/>
        <a:ext cx="2639854" cy="1272838"/>
      </dsp:txXfrm>
    </dsp:sp>
    <dsp:sp modelId="{2A99CE41-994D-4383-A778-4CDBA1815548}">
      <dsp:nvSpPr>
        <dsp:cNvPr id="0" name=""/>
        <dsp:cNvSpPr/>
      </dsp:nvSpPr>
      <dsp:spPr>
        <a:xfrm rot="17700000">
          <a:off x="6890175" y="3496090"/>
          <a:ext cx="2639854" cy="12728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3D4741-6D6A-4676-BB4A-25D36E1E2ACE}">
      <dsp:nvSpPr>
        <dsp:cNvPr id="0" name=""/>
        <dsp:cNvSpPr/>
      </dsp:nvSpPr>
      <dsp:spPr>
        <a:xfrm>
          <a:off x="8205583" y="5268229"/>
          <a:ext cx="1274238" cy="1274238"/>
        </a:xfrm>
        <a:prstGeom prst="ellipse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D30138-EDE6-4E07-9858-1FF84B51885C}">
      <dsp:nvSpPr>
        <dsp:cNvPr id="0" name=""/>
        <dsp:cNvSpPr/>
      </dsp:nvSpPr>
      <dsp:spPr>
        <a:xfrm rot="17700000">
          <a:off x="6696422" y="7041767"/>
          <a:ext cx="2639854" cy="12728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1440" bIns="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>
              <a:solidFill>
                <a:schemeClr val="accent6"/>
              </a:solidFill>
              <a:latin typeface="NBS Light"/>
            </a:rPr>
            <a:t>Guardrails</a:t>
          </a:r>
        </a:p>
      </dsp:txBody>
      <dsp:txXfrm>
        <a:off x="6696422" y="7041767"/>
        <a:ext cx="2639854" cy="1272838"/>
      </dsp:txXfrm>
    </dsp:sp>
    <dsp:sp modelId="{59EDD76F-5E91-45E5-A217-EEBDADE3917D}">
      <dsp:nvSpPr>
        <dsp:cNvPr id="0" name=""/>
        <dsp:cNvSpPr/>
      </dsp:nvSpPr>
      <dsp:spPr>
        <a:xfrm rot="17700000">
          <a:off x="8349128" y="3496090"/>
          <a:ext cx="2639854" cy="12728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7CDBB5-7F62-498D-8714-BDE249F48BD4}">
      <dsp:nvSpPr>
        <dsp:cNvPr id="0" name=""/>
        <dsp:cNvSpPr/>
      </dsp:nvSpPr>
      <dsp:spPr>
        <a:xfrm>
          <a:off x="9664535" y="5268229"/>
          <a:ext cx="1274238" cy="1274238"/>
        </a:xfrm>
        <a:prstGeom prst="ellipse">
          <a:avLst/>
        </a:prstGeom>
        <a:solidFill>
          <a:srgbClr val="FF9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5BF680-402A-4784-856D-C38DC3132C4A}">
      <dsp:nvSpPr>
        <dsp:cNvPr id="0" name=""/>
        <dsp:cNvSpPr/>
      </dsp:nvSpPr>
      <dsp:spPr>
        <a:xfrm rot="17700000">
          <a:off x="8155374" y="7041767"/>
          <a:ext cx="2639854" cy="12728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1440" bIns="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>
              <a:solidFill>
                <a:schemeClr val="accent6"/>
              </a:solidFill>
              <a:latin typeface="NBS Light"/>
            </a:rPr>
            <a:t>Checklists</a:t>
          </a:r>
        </a:p>
      </dsp:txBody>
      <dsp:txXfrm>
        <a:off x="8155374" y="7041767"/>
        <a:ext cx="2639854" cy="1272838"/>
      </dsp:txXfrm>
    </dsp:sp>
    <dsp:sp modelId="{4F280412-E9C1-4826-8DF5-6C66FE68F4A6}">
      <dsp:nvSpPr>
        <dsp:cNvPr id="0" name=""/>
        <dsp:cNvSpPr/>
      </dsp:nvSpPr>
      <dsp:spPr>
        <a:xfrm rot="17700000">
          <a:off x="9808080" y="3496090"/>
          <a:ext cx="2639854" cy="12728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E2F7E4-C883-43EB-BD76-77115CA1956C}">
      <dsp:nvSpPr>
        <dsp:cNvPr id="0" name=""/>
        <dsp:cNvSpPr/>
      </dsp:nvSpPr>
      <dsp:spPr>
        <a:xfrm>
          <a:off x="11123488" y="5268229"/>
          <a:ext cx="1274238" cy="1274238"/>
        </a:xfrm>
        <a:prstGeom prst="ellipse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EA524A-74F6-44A2-86F2-4F0A94CFB5AF}">
      <dsp:nvSpPr>
        <dsp:cNvPr id="0" name=""/>
        <dsp:cNvSpPr/>
      </dsp:nvSpPr>
      <dsp:spPr>
        <a:xfrm rot="17700000">
          <a:off x="9614327" y="7041767"/>
          <a:ext cx="2639854" cy="1272838"/>
        </a:xfrm>
        <a:prstGeom prst="rect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91440" bIns="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>
              <a:solidFill>
                <a:schemeClr val="accent6"/>
              </a:solidFill>
              <a:latin typeface="NBS Light"/>
            </a:rPr>
            <a:t>Assessments</a:t>
          </a:r>
        </a:p>
      </dsp:txBody>
      <dsp:txXfrm>
        <a:off x="9614327" y="7041767"/>
        <a:ext cx="2639854" cy="1272838"/>
      </dsp:txXfrm>
    </dsp:sp>
    <dsp:sp modelId="{EA636DDC-8410-4791-87D9-D2BB63968C8A}">
      <dsp:nvSpPr>
        <dsp:cNvPr id="0" name=""/>
        <dsp:cNvSpPr/>
      </dsp:nvSpPr>
      <dsp:spPr>
        <a:xfrm rot="17700000">
          <a:off x="11267032" y="3496090"/>
          <a:ext cx="2639854" cy="12728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58E175-1B8C-4C0F-8449-AC7D53AA1F2D}">
      <dsp:nvSpPr>
        <dsp:cNvPr id="0" name=""/>
        <dsp:cNvSpPr/>
      </dsp:nvSpPr>
      <dsp:spPr>
        <a:xfrm>
          <a:off x="12582636" y="4677908"/>
          <a:ext cx="2454879" cy="2454879"/>
        </a:xfrm>
        <a:prstGeom prst="donut">
          <a:avLst>
            <a:gd name="adj" fmla="val 20000"/>
          </a:avLst>
        </a:prstGeom>
        <a:gradFill flip="none" rotWithShape="1">
          <a:gsLst>
            <a:gs pos="0">
              <a:srgbClr val="FF0000"/>
            </a:gs>
            <a:gs pos="100000">
              <a:srgbClr val="00B050"/>
            </a:gs>
          </a:gsLst>
          <a:lin ang="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B21A1F-25C5-46B2-81F8-7964CE6F735D}">
      <dsp:nvSpPr>
        <dsp:cNvPr id="0" name=""/>
        <dsp:cNvSpPr/>
      </dsp:nvSpPr>
      <dsp:spPr>
        <a:xfrm rot="17700000">
          <a:off x="13447625" y="2676680"/>
          <a:ext cx="3051688" cy="1470678"/>
        </a:xfrm>
        <a:prstGeom prst="rect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0" tIns="0" rIns="0" bIns="0" numCol="1" spcCol="1270" anchor="ctr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b="1" kern="1200">
              <a:solidFill>
                <a:srgbClr val="000000"/>
              </a:solidFill>
              <a:latin typeface="NBS Light"/>
              <a:ea typeface="+mn-ea"/>
              <a:cs typeface="+mn-cs"/>
            </a:rPr>
            <a:t>Intelligent</a:t>
          </a:r>
          <a:r>
            <a:rPr lang="en-GB" sz="2800" b="1" kern="1200">
              <a:solidFill>
                <a:schemeClr val="accent6"/>
              </a:solidFill>
              <a:latin typeface="NBS Light"/>
            </a:rPr>
            <a:t> </a:t>
          </a:r>
          <a:r>
            <a:rPr lang="en-GB" sz="4000" b="1" kern="1200">
              <a:solidFill>
                <a:srgbClr val="000000"/>
              </a:solidFill>
              <a:latin typeface="NBS Light"/>
              <a:ea typeface="+mn-ea"/>
              <a:cs typeface="+mn-cs"/>
            </a:rPr>
            <a:t>Control</a:t>
          </a:r>
          <a:r>
            <a:rPr lang="en-GB" sz="2800" b="1" kern="1200">
              <a:solidFill>
                <a:schemeClr val="accent6"/>
              </a:solidFill>
              <a:latin typeface="NBS Light"/>
            </a:rPr>
            <a:t> </a:t>
          </a:r>
          <a:r>
            <a:rPr lang="en-GB" sz="4000" b="1" kern="1200">
              <a:solidFill>
                <a:srgbClr val="000000"/>
              </a:solidFill>
              <a:latin typeface="NBS Light"/>
              <a:ea typeface="+mn-ea"/>
              <a:cs typeface="+mn-cs"/>
            </a:rPr>
            <a:t>Needed</a:t>
          </a:r>
          <a:r>
            <a:rPr lang="en-GB" sz="2800" b="1" kern="1200">
              <a:solidFill>
                <a:schemeClr val="accent6"/>
              </a:solidFill>
              <a:latin typeface="NBS Light"/>
            </a:rPr>
            <a:t>!</a:t>
          </a:r>
        </a:p>
      </dsp:txBody>
      <dsp:txXfrm>
        <a:off x="13447625" y="2676680"/>
        <a:ext cx="3051688" cy="1470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063191-FB3F-4E40-9FC6-ACE016F78E08}">
      <dsp:nvSpPr>
        <dsp:cNvPr id="0" name=""/>
        <dsp:cNvSpPr/>
      </dsp:nvSpPr>
      <dsp:spPr>
        <a:xfrm>
          <a:off x="1370906" y="941977"/>
          <a:ext cx="2770546" cy="2771023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latin typeface="NBS Medium" panose="020B0603030303020204" pitchFamily="34" charset="0"/>
            </a:rPr>
            <a:t>Controls</a:t>
          </a:r>
        </a:p>
      </dsp:txBody>
      <dsp:txXfrm>
        <a:off x="1776643" y="1347784"/>
        <a:ext cx="1959072" cy="1959409"/>
      </dsp:txXfrm>
    </dsp:sp>
    <dsp:sp modelId="{39AA0C07-E39A-4DBC-A97A-30B289037C14}">
      <dsp:nvSpPr>
        <dsp:cNvPr id="0" name=""/>
        <dsp:cNvSpPr/>
      </dsp:nvSpPr>
      <dsp:spPr>
        <a:xfrm>
          <a:off x="2222813" y="3507006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17D2D1-5DD8-44FA-B7CA-42332A2AB829}">
      <dsp:nvSpPr>
        <dsp:cNvPr id="0" name=""/>
        <dsp:cNvSpPr/>
      </dsp:nvSpPr>
      <dsp:spPr>
        <a:xfrm>
          <a:off x="4319904" y="2066530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6ECA5F-B963-4D91-8640-881827922BEC}">
      <dsp:nvSpPr>
        <dsp:cNvPr id="0" name=""/>
        <dsp:cNvSpPr/>
      </dsp:nvSpPr>
      <dsp:spPr>
        <a:xfrm>
          <a:off x="3252604" y="3744692"/>
          <a:ext cx="308027" cy="30849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9234B6-7B9D-4A00-9211-CB24295C233F}">
      <dsp:nvSpPr>
        <dsp:cNvPr id="0" name=""/>
        <dsp:cNvSpPr/>
      </dsp:nvSpPr>
      <dsp:spPr>
        <a:xfrm>
          <a:off x="2285328" y="1253445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1895F3-2073-4B78-84AA-16BDA3F792C4}">
      <dsp:nvSpPr>
        <dsp:cNvPr id="0" name=""/>
        <dsp:cNvSpPr/>
      </dsp:nvSpPr>
      <dsp:spPr>
        <a:xfrm>
          <a:off x="1582320" y="2531503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35811E-989F-4500-8149-8EC6B4481AC7}">
      <dsp:nvSpPr>
        <dsp:cNvPr id="0" name=""/>
        <dsp:cNvSpPr/>
      </dsp:nvSpPr>
      <dsp:spPr>
        <a:xfrm>
          <a:off x="504790" y="1442108"/>
          <a:ext cx="1126404" cy="1126532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latin typeface="NBS Medium" panose="020B0603030303020204" pitchFamily="34" charset="0"/>
            </a:rPr>
            <a:t>Rules</a:t>
          </a:r>
        </a:p>
      </dsp:txBody>
      <dsp:txXfrm>
        <a:off x="669748" y="1607085"/>
        <a:ext cx="796488" cy="796578"/>
      </dsp:txXfrm>
    </dsp:sp>
    <dsp:sp modelId="{4C59FE19-93BE-426C-BCA2-911C1D8045FC}">
      <dsp:nvSpPr>
        <dsp:cNvPr id="0" name=""/>
        <dsp:cNvSpPr/>
      </dsp:nvSpPr>
      <dsp:spPr>
        <a:xfrm>
          <a:off x="2640526" y="1263349"/>
          <a:ext cx="308027" cy="30849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8AE616-D194-42ED-B56B-BB3300809F26}">
      <dsp:nvSpPr>
        <dsp:cNvPr id="0" name=""/>
        <dsp:cNvSpPr/>
      </dsp:nvSpPr>
      <dsp:spPr>
        <a:xfrm>
          <a:off x="611065" y="2898431"/>
          <a:ext cx="556950" cy="55707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22D93E-D51A-4187-8181-08CC87EA80B8}">
      <dsp:nvSpPr>
        <dsp:cNvPr id="0" name=""/>
        <dsp:cNvSpPr/>
      </dsp:nvSpPr>
      <dsp:spPr>
        <a:xfrm>
          <a:off x="4130751" y="768358"/>
          <a:ext cx="1951169" cy="195139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latin typeface="NBS Medium" panose="020B0603030303020204" pitchFamily="34" charset="0"/>
            </a:rPr>
            <a:t>Standards</a:t>
          </a:r>
        </a:p>
      </dsp:txBody>
      <dsp:txXfrm>
        <a:off x="4416493" y="1054133"/>
        <a:ext cx="1379685" cy="1379841"/>
      </dsp:txXfrm>
    </dsp:sp>
    <dsp:sp modelId="{7516D459-AF40-4731-922B-13794E73C3E1}">
      <dsp:nvSpPr>
        <dsp:cNvPr id="0" name=""/>
        <dsp:cNvSpPr/>
      </dsp:nvSpPr>
      <dsp:spPr>
        <a:xfrm>
          <a:off x="3923219" y="1689698"/>
          <a:ext cx="308027" cy="30849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EF62D8-1176-47FF-8EE5-D37C1B8E2806}">
      <dsp:nvSpPr>
        <dsp:cNvPr id="0" name=""/>
        <dsp:cNvSpPr/>
      </dsp:nvSpPr>
      <dsp:spPr>
        <a:xfrm>
          <a:off x="399083" y="3561476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EDF2A1-599B-4BD6-AAD9-4891E1DD572B}">
      <dsp:nvSpPr>
        <dsp:cNvPr id="0" name=""/>
        <dsp:cNvSpPr/>
      </dsp:nvSpPr>
      <dsp:spPr>
        <a:xfrm>
          <a:off x="2624614" y="3243571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4B2F4A-FEE7-4E75-89CE-B9B4144B5EB2}">
      <dsp:nvSpPr>
        <dsp:cNvPr id="0" name=""/>
        <dsp:cNvSpPr/>
      </dsp:nvSpPr>
      <dsp:spPr>
        <a:xfrm>
          <a:off x="4827289" y="2475891"/>
          <a:ext cx="1532394" cy="1532569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latin typeface="NBS Medium" panose="020B0603030303020204" pitchFamily="34" charset="0"/>
            </a:rPr>
            <a:t>Policies</a:t>
          </a:r>
        </a:p>
      </dsp:txBody>
      <dsp:txXfrm>
        <a:off x="5051703" y="2700331"/>
        <a:ext cx="1083566" cy="1083689"/>
      </dsp:txXfrm>
    </dsp:sp>
    <dsp:sp modelId="{6A9D65EB-A555-4954-934F-0D5E3CE41E04}">
      <dsp:nvSpPr>
        <dsp:cNvPr id="0" name=""/>
        <dsp:cNvSpPr/>
      </dsp:nvSpPr>
      <dsp:spPr>
        <a:xfrm>
          <a:off x="4638162" y="2819697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8B2253-EC01-4E17-A8B1-D665775CD18B}">
      <dsp:nvSpPr>
        <dsp:cNvPr id="0" name=""/>
        <dsp:cNvSpPr/>
      </dsp:nvSpPr>
      <dsp:spPr>
        <a:xfrm>
          <a:off x="425295" y="3338285"/>
          <a:ext cx="2029432" cy="2029674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latin typeface="NBS Medium" panose="020B0603030303020204" pitchFamily="34" charset="0"/>
            </a:rPr>
            <a:t>Compliance</a:t>
          </a:r>
        </a:p>
      </dsp:txBody>
      <dsp:txXfrm>
        <a:off x="722498" y="3635524"/>
        <a:ext cx="1435026" cy="1435196"/>
      </dsp:txXfrm>
    </dsp:sp>
    <dsp:sp modelId="{682BCB0A-2D5D-4DC0-8EFA-7B4A73D077E5}">
      <dsp:nvSpPr>
        <dsp:cNvPr id="0" name=""/>
        <dsp:cNvSpPr/>
      </dsp:nvSpPr>
      <dsp:spPr>
        <a:xfrm>
          <a:off x="2728616" y="3784802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7C535E-9EF1-48EC-826A-4ED2E6E0C80F}">
      <dsp:nvSpPr>
        <dsp:cNvPr id="0" name=""/>
        <dsp:cNvSpPr/>
      </dsp:nvSpPr>
      <dsp:spPr>
        <a:xfrm>
          <a:off x="2618290" y="-449241"/>
          <a:ext cx="2020139" cy="202035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latin typeface="NBS Medium" panose="020B0603030303020204" pitchFamily="34" charset="0"/>
            </a:rPr>
            <a:t>Regulations</a:t>
          </a:r>
        </a:p>
      </dsp:txBody>
      <dsp:txXfrm>
        <a:off x="2914133" y="-153367"/>
        <a:ext cx="1428453" cy="1428609"/>
      </dsp:txXfrm>
    </dsp:sp>
    <dsp:sp modelId="{EDAEEF85-AE6C-4DC1-B331-D3DD37BB9E99}">
      <dsp:nvSpPr>
        <dsp:cNvPr id="0" name=""/>
        <dsp:cNvSpPr/>
      </dsp:nvSpPr>
      <dsp:spPr>
        <a:xfrm>
          <a:off x="1407846" y="1218783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A9DADD-5B3E-4097-95AA-8C1962D86D33}">
      <dsp:nvSpPr>
        <dsp:cNvPr id="0" name=""/>
        <dsp:cNvSpPr/>
      </dsp:nvSpPr>
      <dsp:spPr>
        <a:xfrm>
          <a:off x="4008466" y="274971"/>
          <a:ext cx="223348" cy="22332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CircleRelationship">
  <dgm:title val=""/>
  <dgm:desc val=""/>
  <dgm:catLst>
    <dgm:cat type="relationship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clrData>
  <dgm:layoutNode name="Name0">
    <dgm:varLst>
      <dgm:chMax val="1"/>
      <dgm:chPref val="1"/>
    </dgm:varLst>
    <dgm:shape xmlns:r="http://schemas.openxmlformats.org/officeDocument/2006/relationships" r:blip="">
      <dgm:adjLst/>
    </dgm:shape>
    <dgm:choose name="Name1">
      <dgm:if name="Name2" axis="ch ch" ptType="node node" func="cnt" op="equ" val="0">
        <dgm:alg type="composite">
          <dgm:param type="ar" val="0.98"/>
        </dgm:alg>
        <dgm:constrLst>
          <dgm:constr type="primFontSz" for="des" ptType="node" op="equ" val="65"/>
          <dgm:constr type="l" for="ch" forName="Parent" refType="w" fact="0"/>
          <dgm:constr type="t" for="ch" forName="Parent" refType="h" fact="0.039"/>
          <dgm:constr type="w" for="ch" forName="Parent" refType="w" fact="0.8734"/>
          <dgm:constr type="h" for="ch" forName="Parent" refType="h" fact="0.856"/>
          <dgm:constr type="l" for="ch" forName="Accent1" refType="w" fact="0.4984"/>
          <dgm:constr type="t" for="ch" forName="Accent1" refType="h" fact="0"/>
          <dgm:constr type="w" for="ch" forName="Accent1" refType="w" fact="0.0972"/>
          <dgm:constr type="h" for="ch" forName="Accent1" refType="h" fact="0.0952"/>
          <dgm:constr type="l" for="ch" forName="Accent2" refType="w" fact="0.2684"/>
          <dgm:constr type="t" for="ch" forName="Accent2" refType="h" fact="0.8314"/>
          <dgm:constr type="w" for="ch" forName="Accent2" refType="w" fact="0.0704"/>
          <dgm:constr type="h" for="ch" forName="Accent2" refType="h" fact="0.069"/>
          <dgm:constr type="l" for="ch" forName="Accent3" refType="w" fact="0.9296"/>
          <dgm:constr type="t" for="ch" forName="Accent3" refType="h" fact="0.3864"/>
          <dgm:constr type="w" for="ch" forName="Accent3" refType="w" fact="0.0704"/>
          <dgm:constr type="h" for="ch" forName="Accent3" refType="h" fact="0.069"/>
          <dgm:constr type="l" for="ch" forName="Accent4" refType="w" fact="0.5931"/>
          <dgm:constr type="t" for="ch" forName="Accent4" refType="h" fact="0.9048"/>
          <dgm:constr type="w" for="ch" forName="Accent4" refType="w" fact="0.0972"/>
          <dgm:constr type="h" for="ch" forName="Accent4" refType="h" fact="0.0952"/>
          <dgm:constr type="l" for="ch" forName="Accent5" refType="w" fact="0.2883"/>
          <dgm:constr type="t" for="ch" forName="Accent5" refType="h" fact="0.1353"/>
          <dgm:constr type="w" for="ch" forName="Accent5" refType="w" fact="0.0704"/>
          <dgm:constr type="h" for="ch" forName="Accent5" refType="h" fact="0.069"/>
          <dgm:constr type="l" for="ch" forName="Accent6" refType="w" fact="0.0666"/>
          <dgm:constr type="t" for="ch" forName="Accent6" refType="h" fact="0.53"/>
          <dgm:constr type="w" for="ch" forName="Accent6" refType="w" fact="0.0704"/>
          <dgm:constr type="h" for="ch" forName="Accent6" refType="h" fact="0.069"/>
        </dgm:constrLst>
      </dgm:if>
      <dgm:if name="Name3" axis="ch ch" ptType="node node" func="cnt" op="equ" val="1">
        <dgm:alg type="composite">
          <dgm:param type="ar" val="1.2476"/>
        </dgm:alg>
        <dgm:constrLst>
          <dgm:constr type="primFontSz" for="des" ptType="node" op="equ" val="65"/>
          <dgm:constr type="l" for="ch" forName="Parent" refType="w" fact="0.2145"/>
          <dgm:constr type="t" for="ch" forName="Parent" refType="h" fact="0.039"/>
          <dgm:constr type="w" for="ch" forName="Parent" refType="w" fact="0.6861"/>
          <dgm:constr type="h" for="ch" forName="Parent" refType="h" fact="0.856"/>
          <dgm:constr type="l" for="ch" forName="Accent8" refType="w" fact="0.0262"/>
          <dgm:constr type="t" for="ch" forName="Accent8" refType="h" fact="0.6434"/>
          <dgm:constr type="w" for="ch" forName="Accent8" refType="w" fact="0.138"/>
          <dgm:constr type="h" for="ch" forName="Accent8" refType="h" fact="0.1721"/>
          <dgm:constr type="l" for="ch" forName="Accent1" refType="w" fact="0.6059"/>
          <dgm:constr type="t" for="ch" forName="Accent1" refType="h" fact="0"/>
          <dgm:constr type="w" for="ch" forName="Accent1" refType="w" fact="0.0763"/>
          <dgm:constr type="h" for="ch" forName="Accent1" refType="h" fact="0.0952"/>
          <dgm:constr type="l" for="ch" forName="Accent2" refType="w" fact="0.4253"/>
          <dgm:constr type="t" for="ch" forName="Accent2" refType="h" fact="0.8314"/>
          <dgm:constr type="w" for="ch" forName="Accent2" refType="w" fact="0.0553"/>
          <dgm:constr type="h" for="ch" forName="Accent2" refType="h" fact="0.069"/>
          <dgm:constr type="l" for="ch" forName="Accent3" refType="w" fact="0.9447"/>
          <dgm:constr type="t" for="ch" forName="Accent3" refType="h" fact="0.3864"/>
          <dgm:constr type="w" for="ch" forName="Accent3" refType="w" fact="0.0553"/>
          <dgm:constr type="h" for="ch" forName="Accent3" refType="h" fact="0.069"/>
          <dgm:constr type="l" for="ch" forName="Child1" refType="w" fact="0"/>
          <dgm:constr type="t" for="ch" forName="Child1" refType="h" fact="0.1935"/>
          <dgm:constr type="w" for="ch" forName="Child1" refType="w" fact="0.2789"/>
          <dgm:constr type="h" for="ch" forName="Child1" refType="h" fact="0.3479"/>
          <dgm:constr type="l" for="ch" forName="Accent4" refType="w" fact="0.6803"/>
          <dgm:constr type="t" for="ch" forName="Accent4" refType="h" fact="0.9048"/>
          <dgm:constr type="w" for="ch" forName="Accent4" refType="w" fact="0.0763"/>
          <dgm:constr type="h" for="ch" forName="Accent4" refType="h" fact="0.0952"/>
          <dgm:constr type="l" for="ch" forName="Accent7" refType="w" fact="0.5287"/>
          <dgm:constr type="t" for="ch" forName="Accent7" refType="h" fact="0.1383"/>
          <dgm:constr type="w" for="ch" forName="Accent7" refType="w" fact="0.0763"/>
          <dgm:constr type="h" for="ch" forName="Accent7" refType="h" fact="0.0952"/>
          <dgm:constr type="l" for="ch" forName="Accent5" refType="w" fact="0.4409"/>
          <dgm:constr type="t" for="ch" forName="Accent5" refType="h" fact="0.1353"/>
          <dgm:constr type="w" for="ch" forName="Accent5" refType="w" fact="0.0553"/>
          <dgm:constr type="h" for="ch" forName="Accent5" refType="h" fact="0.069"/>
          <dgm:constr type="l" for="ch" forName="Accent6" refType="w" fact="0.2668"/>
          <dgm:constr type="t" for="ch" forName="Accent6" refType="h" fact="0.53"/>
          <dgm:constr type="w" for="ch" forName="Accent6" refType="w" fact="0.0553"/>
          <dgm:constr type="h" for="ch" forName="Accent6" refType="h" fact="0.069"/>
        </dgm:constrLst>
      </dgm:if>
      <dgm:if name="Name4" axis="ch ch" ptType="node node" func="cnt" op="equ" val="2">
        <dgm:alg type="composite">
          <dgm:param type="ar" val="1.592"/>
        </dgm:alg>
        <dgm:constrLst>
          <dgm:constr type="primFontSz" for="des" ptType="node" op="equ" val="65"/>
          <dgm:constr type="l" for="ch" forName="Parent" refType="w" fact="0.1886"/>
          <dgm:constr type="t" for="ch" forName="Parent" refType="h" fact="0.039"/>
          <dgm:constr type="w" for="ch" forName="Parent" refType="w" fact="0.5377"/>
          <dgm:constr type="h" for="ch" forName="Parent" refType="h" fact="0.856"/>
          <dgm:constr type="l" for="ch" forName="Accent8" refType="w" fact="0.0411"/>
          <dgm:constr type="t" for="ch" forName="Accent8" refType="h" fact="0.6434"/>
          <dgm:constr type="w" for="ch" forName="Accent8" refType="w" fact="0.1081"/>
          <dgm:constr type="h" for="ch" forName="Accent8" refType="h" fact="0.1721"/>
          <dgm:constr type="l" for="ch" forName="Accent1" refType="w" fact="0.4954"/>
          <dgm:constr type="t" for="ch" forName="Accent1" refType="h" fact="0"/>
          <dgm:constr type="w" for="ch" forName="Accent1" refType="w" fact="0.0598"/>
          <dgm:constr type="h" for="ch" forName="Accent1" refType="h" fact="0.0952"/>
          <dgm:constr type="l" for="ch" forName="Accent2" refType="w" fact="0.3538"/>
          <dgm:constr type="t" for="ch" forName="Accent2" refType="h" fact="0.8314"/>
          <dgm:constr type="w" for="ch" forName="Accent2" refType="w" fact="0.0433"/>
          <dgm:constr type="h" for="ch" forName="Accent2" refType="h" fact="0.069"/>
          <dgm:constr type="l" for="ch" forName="Accent3" refType="w" fact="0.7609"/>
          <dgm:constr type="t" for="ch" forName="Accent3" refType="h" fact="0.3864"/>
          <dgm:constr type="w" for="ch" forName="Accent3" refType="w" fact="0.0433"/>
          <dgm:constr type="h" for="ch" forName="Accent3" refType="h" fact="0.069"/>
          <dgm:constr type="l" for="ch" forName="Accent9" refType="w" fact="0.6839"/>
          <dgm:constr type="t" for="ch" forName="Accent9" refType="h" fact="0.27"/>
          <dgm:constr type="w" for="ch" forName="Accent9" refType="w" fact="0.0598"/>
          <dgm:constr type="h" for="ch" forName="Accent9" refType="h" fact="0.0952"/>
          <dgm:constr type="l" for="ch" forName="Child1" refType="w" fact="0.0206"/>
          <dgm:constr type="t" for="ch" forName="Child1" refType="h" fact="0.1935"/>
          <dgm:constr type="w" for="ch" forName="Child1" refType="w" fact="0.2186"/>
          <dgm:constr type="h" for="ch" forName="Child1" refType="h" fact="0.3479"/>
          <dgm:constr type="l" for="ch" forName="Child2" refType="w" fact="0.7814"/>
          <dgm:constr type="t" for="ch" forName="Child2" refType="h" fact="0.0298"/>
          <dgm:constr type="w" for="ch" forName="Child2" refType="w" fact="0.2186"/>
          <dgm:constr type="h" for="ch" forName="Child2" refType="h" fact="0.3479"/>
          <dgm:constr type="l" for="ch" forName="Accent10" refType="w" fact="0"/>
          <dgm:constr type="t" for="ch" forName="Accent10" refType="h" fact="0.8482"/>
          <dgm:constr type="w" for="ch" forName="Accent10" refType="w" fact="0.0433"/>
          <dgm:constr type="h" for="ch" forName="Accent10" refType="h" fact="0.069"/>
          <dgm:constr type="l" for="ch" forName="Accent11" refType="w" fact="0.4318"/>
          <dgm:constr type="t" for="ch" forName="Accent11" refType="h" fact="0.75"/>
          <dgm:constr type="w" for="ch" forName="Accent11" refType="w" fact="0.0433"/>
          <dgm:constr type="h" for="ch" forName="Accent11" refType="h" fact="0.069"/>
          <dgm:constr type="l" for="ch" forName="Accent7" refType="w" fact="0.4349"/>
          <dgm:constr type="t" for="ch" forName="Accent7" refType="h" fact="0.1383"/>
          <dgm:constr type="w" for="ch" forName="Accent7" refType="w" fact="0.0598"/>
          <dgm:constr type="h" for="ch" forName="Accent7" refType="h" fact="0.0952"/>
          <dgm:constr type="l" for="ch" forName="Accent5" refType="w" fact="0.3661"/>
          <dgm:constr type="t" for="ch" forName="Accent5" refType="h" fact="0.1353"/>
          <dgm:constr type="w" for="ch" forName="Accent5" refType="w" fact="0.0433"/>
          <dgm:constr type="h" for="ch" forName="Accent5" refType="h" fact="0.069"/>
          <dgm:constr type="l" for="ch" forName="Accent6" refType="w" fact="0.2296"/>
          <dgm:constr type="t" for="ch" forName="Accent6" refType="h" fact="0.53"/>
          <dgm:constr type="w" for="ch" forName="Accent6" refType="w" fact="0.0433"/>
          <dgm:constr type="h" for="ch" forName="Accent6" refType="h" fact="0.069"/>
          <dgm:constr type="l" for="ch" forName="Accent4" refType="w" fact="0.5537"/>
          <dgm:constr type="t" for="ch" forName="Accent4" refType="h" fact="0.9048"/>
          <dgm:constr type="w" for="ch" forName="Accent4" refType="w" fact="0.0598"/>
          <dgm:constr type="h" for="ch" forName="Accent4" refType="h" fact="0.0952"/>
        </dgm:constrLst>
      </dgm:if>
      <dgm:if name="Name5" axis="ch ch" ptType="node node" func="cnt" op="equ" val="3">
        <dgm:alg type="composite">
          <dgm:param type="ar" val="1.755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9"/>
          <dgm:constr type="w" for="ch" forName="Parent" refType="w" fact="0.4875"/>
          <dgm:constr type="h" for="ch" forName="Parent" refType="h" fact="0.856"/>
          <dgm:constr type="l" for="ch" forName="Accent8" refType="w" fact="0.0373"/>
          <dgm:constr type="t" for="ch" forName="Accent8" refType="h" fact="0.6434"/>
          <dgm:constr type="w" for="ch" forName="Accent8" refType="w" fact="0.098"/>
          <dgm:constr type="h" for="ch" forName="Accent8" refType="h" fact="0.1721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952"/>
          <dgm:constr type="l" for="ch" forName="Accent2" refType="w" fact="0.3209"/>
          <dgm:constr type="t" for="ch" forName="Accent2" refType="h" fact="0.8314"/>
          <dgm:constr type="w" for="ch" forName="Accent2" refType="w" fact="0.0393"/>
          <dgm:constr type="h" for="ch" forName="Accent2" refType="h" fact="0.069"/>
          <dgm:constr type="l" for="ch" forName="Accent3" refType="w" fact="0.6899"/>
          <dgm:constr type="t" for="ch" forName="Accent3" refType="h" fact="0.3864"/>
          <dgm:constr type="w" for="ch" forName="Accent3" refType="w" fact="0.0393"/>
          <dgm:constr type="h" for="ch" forName="Accent3" refType="h" fact="0.069"/>
          <dgm:constr type="l" for="ch" forName="Accent9" refType="w" fact="0.6201"/>
          <dgm:constr type="t" for="ch" forName="Accent9" refType="h" fact="0.27"/>
          <dgm:constr type="w" for="ch" forName="Accent9" refType="w" fact="0.0542"/>
          <dgm:constr type="h" for="ch" forName="Accent9" refType="h" fact="0.0952"/>
          <dgm:constr type="l" for="ch" forName="Child1" refType="w" fact="0.0186"/>
          <dgm:constr type="t" for="ch" forName="Child1" refType="h" fact="0.1935"/>
          <dgm:constr type="w" for="ch" forName="Child1" refType="w" fact="0.1982"/>
          <dgm:constr type="h" for="ch" forName="Child1" refType="h" fact="0.3479"/>
          <dgm:constr type="l" for="ch" forName="Child2" refType="w" fact="0.7086"/>
          <dgm:constr type="t" for="ch" forName="Child2" refType="h" fact="0.0298"/>
          <dgm:constr type="w" for="ch" forName="Child2" refType="w" fact="0.1982"/>
          <dgm:constr type="h" for="ch" forName="Child2" refType="h" fact="0.3479"/>
          <dgm:constr type="l" for="ch" forName="Child3" refType="w" fact="0.8018"/>
          <dgm:constr type="t" for="ch" forName="Child3" refType="h" fact="0.6312"/>
          <dgm:constr type="w" for="ch" forName="Child3" refType="w" fact="0.1982"/>
          <dgm:constr type="h" for="ch" forName="Child3" refType="h" fact="0.3479"/>
          <dgm:constr type="l" for="ch" forName="Accent12" refType="w" fact="0.7459"/>
          <dgm:constr type="t" for="ch" forName="Accent12" refType="h" fact="0.619"/>
          <dgm:constr type="w" for="ch" forName="Accent12" refType="w" fact="0.0393"/>
          <dgm:constr type="h" for="ch" forName="Accent12" refType="h" fact="0.069"/>
          <dgm:constr type="l" for="ch" forName="Accent4" refType="w" fact="0.5021"/>
          <dgm:constr type="t" for="ch" forName="Accent4" refType="h" fact="0.9048"/>
          <dgm:constr type="w" for="ch" forName="Accent4" refType="w" fact="0.0542"/>
          <dgm:constr type="h" for="ch" forName="Accent4" refType="h" fact="0.0952"/>
          <dgm:constr type="l" for="ch" forName="Accent10" refType="w" fact="0"/>
          <dgm:constr type="t" for="ch" forName="Accent10" refType="h" fact="0.8482"/>
          <dgm:constr type="w" for="ch" forName="Accent10" refType="w" fact="0.0393"/>
          <dgm:constr type="h" for="ch" forName="Accent10" refType="h" fact="0.069"/>
          <dgm:constr type="l" for="ch" forName="Accent11" refType="w" fact="0.3916"/>
          <dgm:constr type="t" for="ch" forName="Accent11" refType="h" fact="0.75"/>
          <dgm:constr type="w" for="ch" forName="Accent11" refType="w" fact="0.0393"/>
          <dgm:constr type="h" for="ch" forName="Accent11" refType="h" fact="0.069"/>
          <dgm:constr type="l" for="ch" forName="Accent7" refType="w" fact="0.3944"/>
          <dgm:constr type="t" for="ch" forName="Accent7" refType="h" fact="0.1383"/>
          <dgm:constr type="w" for="ch" forName="Accent7" refType="w" fact="0.0542"/>
          <dgm:constr type="h" for="ch" forName="Accent7" refType="h" fact="0.0952"/>
          <dgm:constr type="l" for="ch" forName="Accent5" refType="w" fact="0.3319"/>
          <dgm:constr type="t" for="ch" forName="Accent5" refType="h" fact="0.1353"/>
          <dgm:constr type="w" for="ch" forName="Accent5" refType="w" fact="0.0393"/>
          <dgm:constr type="h" for="ch" forName="Accent5" refType="h" fact="0.069"/>
          <dgm:constr type="l" for="ch" forName="Accent6" refType="w" fact="0.2082"/>
          <dgm:constr type="t" for="ch" forName="Accent6" refType="h" fact="0.53"/>
          <dgm:constr type="w" for="ch" forName="Accent6" refType="w" fact="0.0393"/>
          <dgm:constr type="h" for="ch" forName="Accent6" refType="h" fact="0.069"/>
        </dgm:constrLst>
      </dgm:if>
      <dgm:if name="Name6" axis="ch ch" ptType="node node" func="cnt" op="equ" val="4">
        <dgm:alg type="composite">
          <dgm:param type="ar" val="1.3749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06"/>
          <dgm:constr type="w" for="ch" forName="Parent" refType="w" fact="0.4875"/>
          <dgm:constr type="h" for="ch" forName="Parent" refType="h" fact="0.6703"/>
          <dgm:constr type="l" for="ch" forName="Accent8" refType="w" fact="0.0373"/>
          <dgm:constr type="t" for="ch" forName="Accent8" refType="h" fact="0.5038"/>
          <dgm:constr type="w" for="ch" forName="Accent8" refType="w" fact="0.098"/>
          <dgm:constr type="h" for="ch" forName="Accent8" refType="h" fact="0.1348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746"/>
          <dgm:constr type="l" for="ch" forName="Accent2" refType="w" fact="0.3209"/>
          <dgm:constr type="t" for="ch" forName="Accent2" refType="h" fact="0.6511"/>
          <dgm:constr type="w" for="ch" forName="Accent2" refType="w" fact="0.0393"/>
          <dgm:constr type="h" for="ch" forName="Accent2" refType="h" fact="0.054"/>
          <dgm:constr type="l" for="ch" forName="Accent3" refType="w" fact="0.6899"/>
          <dgm:constr type="t" for="ch" forName="Accent3" refType="h" fact="0.3026"/>
          <dgm:constr type="w" for="ch" forName="Accent3" refType="w" fact="0.0393"/>
          <dgm:constr type="h" for="ch" forName="Accent3" refType="h" fact="0.054"/>
          <dgm:constr type="l" for="ch" forName="Accent9" refType="w" fact="0.6201"/>
          <dgm:constr type="t" for="ch" forName="Accent9" refType="h" fact="0.2115"/>
          <dgm:constr type="w" for="ch" forName="Accent9" refType="w" fact="0.0542"/>
          <dgm:constr type="h" for="ch" forName="Accent9" refType="h" fact="0.0746"/>
          <dgm:constr type="l" for="ch" forName="Child1" refType="w" fact="0.0186"/>
          <dgm:constr type="t" for="ch" forName="Child1" refType="h" fact="0.1515"/>
          <dgm:constr type="w" for="ch" forName="Child1" refType="w" fact="0.1982"/>
          <dgm:constr type="h" for="ch" forName="Child1" refType="h" fact="0.2725"/>
          <dgm:constr type="l" for="ch" forName="Child2" refType="w" fact="0.7086"/>
          <dgm:constr type="t" for="ch" forName="Child2" refType="h" fact="0.0233"/>
          <dgm:constr type="w" for="ch" forName="Child2" refType="w" fact="0.1982"/>
          <dgm:constr type="h" for="ch" forName="Child2" refType="h" fact="0.2725"/>
          <dgm:constr type="l" for="ch" forName="Child3" refType="w" fact="0.8018"/>
          <dgm:constr type="t" for="ch" forName="Child3" refType="h" fact="0.4943"/>
          <dgm:constr type="w" for="ch" forName="Child3" refType="w" fact="0.1982"/>
          <dgm:constr type="h" for="ch" forName="Child3" refType="h" fact="0.2725"/>
          <dgm:constr type="l" for="ch" forName="Accent12" refType="w" fact="0.7459"/>
          <dgm:constr type="t" for="ch" forName="Accent12" refType="h" fact="0.4848"/>
          <dgm:constr type="w" for="ch" forName="Accent12" refType="w" fact="0.0393"/>
          <dgm:constr type="h" for="ch" forName="Accent12" refType="h" fact="0.054"/>
          <dgm:constr type="l" for="ch" forName="Accent4" refType="w" fact="0.5021"/>
          <dgm:constr type="t" for="ch" forName="Accent4" refType="h" fact="0.7085"/>
          <dgm:constr type="w" for="ch" forName="Accent4" refType="w" fact="0.0542"/>
          <dgm:constr type="h" for="ch" forName="Accent4" refType="h" fact="0.0746"/>
          <dgm:constr type="l" for="ch" forName="Accent10" refType="w" fact="0"/>
          <dgm:constr type="t" for="ch" forName="Accent10" refType="h" fact="0.6642"/>
          <dgm:constr type="w" for="ch" forName="Accent10" refType="w" fact="0.0393"/>
          <dgm:constr type="h" for="ch" forName="Accent10" refType="h" fact="0.054"/>
          <dgm:constr type="l" for="ch" forName="Accent11" refType="w" fact="0.3916"/>
          <dgm:constr type="t" for="ch" forName="Accent11" refType="h" fact="0.5873"/>
          <dgm:constr type="w" for="ch" forName="Accent11" refType="w" fact="0.0393"/>
          <dgm:constr type="h" for="ch" forName="Accent11" refType="h" fact="0.054"/>
          <dgm:constr type="l" for="ch" forName="Accent7" refType="w" fact="0.3944"/>
          <dgm:constr type="t" for="ch" forName="Accent7" refType="h" fact="0.1083"/>
          <dgm:constr type="w" for="ch" forName="Accent7" refType="w" fact="0.0542"/>
          <dgm:constr type="h" for="ch" forName="Accent7" refType="h" fact="0.0746"/>
          <dgm:constr type="l" for="ch" forName="Accent5" refType="w" fact="0.3319"/>
          <dgm:constr type="t" for="ch" forName="Accent5" refType="h" fact="0.1059"/>
          <dgm:constr type="w" for="ch" forName="Accent5" refType="w" fact="0.0393"/>
          <dgm:constr type="h" for="ch" forName="Accent5" refType="h" fact="0.054"/>
          <dgm:constr type="l" for="ch" forName="Accent6" refType="w" fact="0.2082"/>
          <dgm:constr type="t" for="ch" forName="Accent6" refType="h" fact="0.4151"/>
          <dgm:constr type="w" for="ch" forName="Accent6" refType="w" fact="0.0393"/>
          <dgm:constr type="h" for="ch" forName="Accent6" refType="h" fact="0.054"/>
          <dgm:constr type="l" for="ch" forName="Child4" refType="w" fact="0.2329"/>
          <dgm:constr type="t" for="ch" forName="Child4" refType="h" fact="0.7275"/>
          <dgm:constr type="w" for="ch" forName="Child4" refType="w" fact="0.1982"/>
          <dgm:constr type="h" for="ch" forName="Child4" refType="h" fact="0.2725"/>
          <dgm:constr type="l" for="ch" forName="Accent13" refType="w" fact="0.4099"/>
          <dgm:constr type="t" for="ch" forName="Accent13" refType="h" fact="0.7183"/>
          <dgm:constr type="w" for="ch" forName="Accent13" refType="w" fact="0.0393"/>
          <dgm:constr type="h" for="ch" forName="Accent13" refType="h" fact="0.054"/>
        </dgm:constrLst>
      </dgm:if>
      <dgm:else name="Name7">
        <dgm:alg type="composite">
          <dgm:param type="ar" val="1.147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1907"/>
          <dgm:constr type="w" for="ch" forName="Parent" refType="w" fact="0.4875"/>
          <dgm:constr type="h" for="ch" forName="Parent" refType="h" fact="0.5596"/>
          <dgm:constr type="l" for="ch" forName="Accent8" refType="w" fact="0.0373"/>
          <dgm:constr type="t" for="ch" forName="Accent8" refType="h" fact="0.5858"/>
          <dgm:constr type="w" for="ch" forName="Accent8" refType="w" fact="0.098"/>
          <dgm:constr type="h" for="ch" forName="Accent8" refType="h" fact="0.1125"/>
          <dgm:constr type="l" for="ch" forName="Accent1" refType="w" fact="0.4492"/>
          <dgm:constr type="t" for="ch" forName="Accent1" refType="h" fact="0.1652"/>
          <dgm:constr type="w" for="ch" forName="Accent1" refType="w" fact="0.0542"/>
          <dgm:constr type="h" for="ch" forName="Accent1" refType="h" fact="0.0623"/>
          <dgm:constr type="l" for="ch" forName="Accent2" refType="w" fact="0.3209"/>
          <dgm:constr type="t" for="ch" forName="Accent2" refType="h" fact="0.7087"/>
          <dgm:constr type="w" for="ch" forName="Accent2" refType="w" fact="0.0393"/>
          <dgm:constr type="h" for="ch" forName="Accent2" refType="h" fact="0.0451"/>
          <dgm:constr type="l" for="ch" forName="Accent3" refType="w" fact="0.6899"/>
          <dgm:constr type="t" for="ch" forName="Accent3" refType="h" fact="0.4178"/>
          <dgm:constr type="w" for="ch" forName="Accent3" refType="w" fact="0.0393"/>
          <dgm:constr type="h" for="ch" forName="Accent3" refType="h" fact="0.0451"/>
          <dgm:constr type="l" for="ch" forName="Accent9" refType="w" fact="0.6201"/>
          <dgm:constr type="t" for="ch" forName="Accent9" refType="h" fact="0.3417"/>
          <dgm:constr type="w" for="ch" forName="Accent9" refType="w" fact="0.0542"/>
          <dgm:constr type="h" for="ch" forName="Accent9" refType="h" fact="0.0623"/>
          <dgm:constr type="l" for="ch" forName="Child1" refType="w" fact="0.0186"/>
          <dgm:constr type="t" for="ch" forName="Child1" refType="h" fact="0.2917"/>
          <dgm:constr type="w" for="ch" forName="Child1" refType="w" fact="0.1982"/>
          <dgm:constr type="h" for="ch" forName="Child1" refType="h" fact="0.2275"/>
          <dgm:constr type="l" for="ch" forName="Child2" refType="w" fact="0.7086"/>
          <dgm:constr type="t" for="ch" forName="Child2" refType="h" fact="0.1847"/>
          <dgm:constr type="w" for="ch" forName="Child2" refType="w" fact="0.1982"/>
          <dgm:constr type="h" for="ch" forName="Child2" refType="h" fact="0.2275"/>
          <dgm:constr type="l" for="ch" forName="Child3" refType="w" fact="0.8018"/>
          <dgm:constr type="t" for="ch" forName="Child3" refType="h" fact="0.5778"/>
          <dgm:constr type="w" for="ch" forName="Child3" refType="w" fact="0.1982"/>
          <dgm:constr type="h" for="ch" forName="Child3" refType="h" fact="0.2275"/>
          <dgm:constr type="l" for="ch" forName="Accent12" refType="w" fact="0.7459"/>
          <dgm:constr type="t" for="ch" forName="Accent12" refType="h" fact="0.5699"/>
          <dgm:constr type="w" for="ch" forName="Accent12" refType="w" fact="0.0393"/>
          <dgm:constr type="h" for="ch" forName="Accent12" refType="h" fact="0.0451"/>
          <dgm:constr type="l" for="ch" forName="Accent4" refType="w" fact="0.5021"/>
          <dgm:constr type="t" for="ch" forName="Accent4" refType="h" fact="0.7567"/>
          <dgm:constr type="w" for="ch" forName="Accent4" refType="w" fact="0.0542"/>
          <dgm:constr type="h" for="ch" forName="Accent4" refType="h" fact="0.0623"/>
          <dgm:constr type="l" for="ch" forName="Accent10" refType="w" fact="0"/>
          <dgm:constr type="t" for="ch" forName="Accent10" refType="h" fact="0.7197"/>
          <dgm:constr type="w" for="ch" forName="Accent10" refType="w" fact="0.0393"/>
          <dgm:constr type="h" for="ch" forName="Accent10" refType="h" fact="0.0451"/>
          <dgm:constr type="l" for="ch" forName="Accent11" refType="w" fact="0.3916"/>
          <dgm:constr type="t" for="ch" forName="Accent11" refType="h" fact="0.6555"/>
          <dgm:constr type="w" for="ch" forName="Accent11" refType="w" fact="0.0393"/>
          <dgm:constr type="h" for="ch" forName="Accent11" refType="h" fact="0.0451"/>
          <dgm:constr type="l" for="ch" forName="Accent7" refType="w" fact="0.3944"/>
          <dgm:constr type="t" for="ch" forName="Accent7" refType="h" fact="0.2556"/>
          <dgm:constr type="w" for="ch" forName="Accent7" refType="w" fact="0.0542"/>
          <dgm:constr type="h" for="ch" forName="Accent7" refType="h" fact="0.0623"/>
          <dgm:constr type="l" for="ch" forName="Accent5" refType="w" fact="0.3319"/>
          <dgm:constr type="t" for="ch" forName="Accent5" refType="h" fact="0.2536"/>
          <dgm:constr type="w" for="ch" forName="Accent5" refType="w" fact="0.0393"/>
          <dgm:constr type="h" for="ch" forName="Accent5" refType="h" fact="0.0451"/>
          <dgm:constr type="l" for="ch" forName="Accent6" refType="w" fact="0.2082"/>
          <dgm:constr type="t" for="ch" forName="Accent6" refType="h" fact="0.5117"/>
          <dgm:constr type="w" for="ch" forName="Accent6" refType="w" fact="0.0393"/>
          <dgm:constr type="h" for="ch" forName="Accent6" refType="h" fact="0.0451"/>
          <dgm:constr type="l" for="ch" forName="Child5" refType="w" fact="0.4219"/>
          <dgm:constr type="t" for="ch" forName="Child5" refType="h" fact="0"/>
          <dgm:constr type="w" for="ch" forName="Child5" refType="w" fact="0.1982"/>
          <dgm:constr type="h" for="ch" forName="Child5" refType="h" fact="0.2275"/>
          <dgm:constr type="l" for="ch" forName="Child4" refType="w" fact="0.2329"/>
          <dgm:constr type="t" for="ch" forName="Child4" refType="h" fact="0.7725"/>
          <dgm:constr type="w" for="ch" forName="Child4" refType="w" fact="0.1982"/>
          <dgm:constr type="h" for="ch" forName="Child4" refType="h" fact="0.2275"/>
          <dgm:constr type="l" for="ch" forName="Accent15" refType="w" fact="0.1775"/>
          <dgm:constr type="t" for="ch" forName="Accent15" refType="h" fact="0.2466"/>
          <dgm:constr type="w" for="ch" forName="Accent15" refType="w" fact="0.0393"/>
          <dgm:constr type="h" for="ch" forName="Accent15" refType="h" fact="0.0451"/>
          <dgm:constr type="l" for="ch" forName="Accent16" refType="w" fact="0.6351"/>
          <dgm:constr type="t" for="ch" forName="Accent16" refType="h" fact="0.056"/>
          <dgm:constr type="w" for="ch" forName="Accent16" refType="w" fact="0.0393"/>
          <dgm:constr type="h" for="ch" forName="Accent16" refType="h" fact="0.0451"/>
          <dgm:constr type="l" for="ch" forName="Accent13" refType="w" fact="0.4099"/>
          <dgm:constr type="t" for="ch" forName="Accent13" refType="h" fact="0.7648"/>
          <dgm:constr type="w" for="ch" forName="Accent13" refType="w" fact="0.0393"/>
          <dgm:constr type="h" for="ch" forName="Accent13" refType="h" fact="0.0451"/>
        </dgm:constrLst>
      </dgm:else>
    </dgm:choose>
    <dgm:forEach name="wrapper" axis="self" ptType="parTrans">
      <dgm:forEach name="accentRepeat1" axis="self">
        <dgm:layoutNode name="AccentHold1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2" axis="self">
        <dgm:layoutNode name="AccentHold2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3" axis="self">
        <dgm:layoutNode name="AccentHold3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forEach>
    <dgm:forEach name="Name8" axis="ch" ptType="node" cnt="1">
      <dgm:layoutNode name="Parent" styleLbl="node0">
        <dgm:varLst>
          <dgm:chMax val="5"/>
          <dgm:chPref val="5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choose name="Name9">
        <dgm:if name="Name10" axis="ch" ptType="node" func="cnt" op="lte" val="4">
          <dgm:layoutNode name="Accent1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</dgm:layoutNode>
        </dgm:if>
        <dgm:else name="Name11"/>
      </dgm:choose>
      <dgm:layoutNode name="Accent2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3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4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5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6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</dgm:forEach>
    <dgm:forEach name="Name12" axis="ch ch" ptType="node node" st="1 1" cnt="1 1">
      <dgm:layoutNode name="Child1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3" ref="accentRepeat1"/>
      </dgm:layoutNode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14" ref="accentRepeat2"/>
      </dgm:layoutNode>
    </dgm:forEach>
    <dgm:forEach name="Name15" axis="ch ch" ptType="node node" st="1 2" cnt="1 1">
      <dgm:layoutNode name="Child2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1"/>
      </dgm:layoutNode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17" ref="accentRepeat2"/>
      </dgm:layoutNode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18" ref="accentRepeat3"/>
      </dgm:layoutNode>
    </dgm:forEach>
    <dgm:forEach name="Name19" axis="ch ch" ptType="node node" st="1 3" cnt="1 1">
      <dgm:layoutNode name="Child3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2">
        <dgm:alg type="sp"/>
        <dgm:shape xmlns:r="http://schemas.openxmlformats.org/officeDocument/2006/relationships" r:blip="">
          <dgm:adjLst/>
        </dgm:shape>
        <dgm:presOf/>
        <dgm:constrLst/>
        <dgm:forEach name="Name20" ref="accentRepeat1"/>
      </dgm:layoutNode>
    </dgm:forEach>
    <dgm:forEach name="Name21" axis="ch ch" ptType="node node" st="1 4" cnt="1 1">
      <dgm:layoutNode name="Child4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3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1"/>
      </dgm:layoutNode>
    </dgm:forEach>
    <dgm:forEach name="Name23" axis="ch ch" ptType="node node" st="1 5" cnt="1 1">
      <dgm:layoutNode name="Child5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5">
        <dgm:alg type="sp"/>
        <dgm:shape xmlns:r="http://schemas.openxmlformats.org/officeDocument/2006/relationships" r:blip="">
          <dgm:adjLst/>
        </dgm:shape>
        <dgm:presOf/>
        <dgm:constrLst/>
        <dgm:forEach name="Name24" ref="accentRepeat2"/>
      </dgm:layoutNode>
      <dgm:layoutNode name="Accent16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3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6C599C0-E50D-4585-8D9E-D93B245501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B7291D-1C4B-4AE0-AC4D-94CA2CEE6EE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8BD7DE-F335-4848-B186-776BCB1E5F19}" type="datetimeFigureOut">
              <a:rPr lang="en-GB" smtClean="0"/>
              <a:t>04/05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831BC6-739F-4E89-A8F3-B5EAD9BCEFF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5FDAD7-887A-4882-AFBB-8CB1446CAB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05FCE-E255-4D6D-B59E-59A9E693B7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2372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9CADC2-2867-4540-8041-2E53E61213BD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3210BE-64CF-E34F-9597-C688F8C3C3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122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2216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326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730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4326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76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0478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8805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3384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4662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CFC91-37B6-044F-AAFC-3573381693F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82956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CFC91-37B6-044F-AAFC-3573381693F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1486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8E82D1-190A-4D85-9ECA-D430E8972930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8927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3064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0055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3411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80317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5223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423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Bef>
                <a:spcPts val="1000"/>
              </a:spcBef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12498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20630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0299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8E82D1-190A-4D85-9ECA-D430E8972930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3479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8E82D1-190A-4D85-9ECA-D430E897293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43150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9984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CFC91-37B6-044F-AAFC-3573381693F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13853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2983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9201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3210BE-64CF-E34F-9597-C688F8C3C3D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670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9" y="768000"/>
            <a:ext cx="7109908" cy="1683872"/>
          </a:xfrm>
        </p:spPr>
        <p:txBody>
          <a:bodyPr rIns="0" anchor="ctr" anchorCtr="0">
            <a:normAutofit/>
          </a:bodyPr>
          <a:lstStyle>
            <a:lvl1pPr algn="l">
              <a:defRPr sz="5333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8" y="2573867"/>
            <a:ext cx="7109916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2133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1EE410-FAB9-2C4F-9B91-EE6A2AC9080C}"/>
              </a:ext>
            </a:extLst>
          </p:cNvPr>
          <p:cNvSpPr txBox="1"/>
          <p:nvPr userDrawn="1"/>
        </p:nvSpPr>
        <p:spPr>
          <a:xfrm>
            <a:off x="6533072" y="-21163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867">
              <a:solidFill>
                <a:schemeClr val="bg1">
                  <a:lumMod val="50000"/>
                </a:schemeClr>
              </a:solidFill>
              <a:latin typeface="NBS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8070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C6E464-2D70-7C44-BFBE-BF8E4E8AFD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239631"/>
            <a:ext cx="11328003" cy="505057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DCFD44-7BBF-1240-BC04-695ED2C8A15E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45DADB3-05AB-164B-8644-C273A8681081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590D87-1EB7-6943-9DC1-E8C3C91B50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4" y="6112490"/>
            <a:ext cx="1207311" cy="480879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5F7AFED-2D0E-4B61-A7A0-68AF47A3EA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297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C6E464-2D70-7C44-BFBE-BF8E4E8AFD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239631"/>
            <a:ext cx="5472000" cy="50702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99CBC46-3A9B-6A47-849E-41D52FB0FD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36000" y="1239631"/>
            <a:ext cx="5472000" cy="50702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5D66A56-CF30-1D47-84BF-41E9C208FD1C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C91C96C-F9C0-2741-96F4-B295739144C4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329D065-34E5-D946-B496-09036BD2DE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4" y="6112490"/>
            <a:ext cx="1207311" cy="480879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04FEBED-5CB7-46D6-B13F-D312CDDE54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2404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D13C96-FD19-DA40-BE01-6080CD296E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97" y="908185"/>
            <a:ext cx="11328003" cy="509779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CFE09E-05F4-BF4C-8812-ABDF9A167A45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B86E5A25-BB52-2543-9E62-09D2C39093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4" y="6112490"/>
            <a:ext cx="1207311" cy="480879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3E3CF3B-A0F9-458F-99E2-909769CC2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43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D13C96-FD19-DA40-BE01-6080CD296E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10355" y="1391480"/>
            <a:ext cx="6897644" cy="442434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E11292A-3C3A-144F-860A-961A735320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391479"/>
            <a:ext cx="3648000" cy="4898607"/>
          </a:xfrm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/>
            </a:pPr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CFE09E-05F4-BF4C-8812-ABDF9A167A45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C046A8-54EB-CB48-8287-4E083377D630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6397E59-1C92-F341-8BCB-136C11B58A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4" y="6112490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29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Multipl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D13C96-FD19-DA40-BE01-6080CD296E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87200" y="1391480"/>
            <a:ext cx="3216000" cy="2016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BD8FD51-33B8-9748-AE1F-0BBD506319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587200" y="3801600"/>
            <a:ext cx="3216000" cy="2016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87B9A114-6238-E54F-A23F-FE926AA537F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10355" y="1391480"/>
            <a:ext cx="3216000" cy="2016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15BAE90-4A2E-584D-A8AA-4A229D59EBA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10355" y="3801600"/>
            <a:ext cx="3216000" cy="2016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35B350A-79D0-0C41-B081-5745FA21A8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391480"/>
            <a:ext cx="3648000" cy="4896517"/>
          </a:xfrm>
        </p:spPr>
        <p:txBody>
          <a:bodyPr/>
          <a:lstStyle>
            <a:lvl1pPr>
              <a:lnSpc>
                <a:spcPct val="110000"/>
              </a:lnSpc>
              <a:spcBef>
                <a:spcPts val="400"/>
              </a:spcBef>
              <a:defRPr/>
            </a:lvl1pPr>
            <a:lvl2pPr>
              <a:lnSpc>
                <a:spcPct val="110000"/>
              </a:lnSpc>
              <a:spcBef>
                <a:spcPts val="400"/>
              </a:spcBef>
              <a:defRPr/>
            </a:lvl2pPr>
            <a:lvl3pPr>
              <a:lnSpc>
                <a:spcPct val="110000"/>
              </a:lnSpc>
              <a:spcBef>
                <a:spcPts val="400"/>
              </a:spcBef>
              <a:defRPr/>
            </a:lvl3pPr>
            <a:lvl4pPr>
              <a:lnSpc>
                <a:spcPct val="110000"/>
              </a:lnSpc>
              <a:spcBef>
                <a:spcPts val="400"/>
              </a:spcBef>
              <a:defRPr/>
            </a:lvl4pPr>
            <a:lvl5pPr>
              <a:lnSpc>
                <a:spcPct val="11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 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30C4547-27B1-6C45-A2EF-D532F12E2D3A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FC28310-90D7-534C-AC66-7B5B9048800F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CA77B04-3213-2947-8D33-51A755976F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4" y="6112490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933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83B1714-083B-4C78-BB42-9A6FCECF4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1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ni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AA4D87-A653-4AC9-82E0-7A4326746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AA4D87-A653-4AC9-82E0-7A4326746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42BF2523-51D0-4042-A0AA-28A27171D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400" y="280579"/>
            <a:ext cx="11531279" cy="288000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>
              <a:defRPr sz="20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C8052FC3-E9F5-4027-AE31-D38961ADC9C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3396" y="974210"/>
            <a:ext cx="11531104" cy="5263087"/>
          </a:xfrm>
        </p:spPr>
        <p:txBody>
          <a:bodyPr/>
          <a:lstStyle>
            <a:lvl1pPr>
              <a:defRPr sz="1400">
                <a:latin typeface="NBS Light" panose="020B0303030303020204" pitchFamily="34" charset="0"/>
              </a:defRPr>
            </a:lvl1pPr>
            <a:lvl2pPr>
              <a:defRPr sz="1200">
                <a:latin typeface="NBS Light" panose="020B0303030303020204" pitchFamily="34" charset="0"/>
              </a:defRPr>
            </a:lvl2pPr>
            <a:lvl3pPr>
              <a:defRPr sz="1200">
                <a:latin typeface="NBS Light" panose="020B0303030303020204" pitchFamily="34" charset="0"/>
              </a:defRPr>
            </a:lvl3pPr>
            <a:lvl4pPr>
              <a:defRPr sz="1100">
                <a:latin typeface="NBS Light" panose="020B0303030303020204" pitchFamily="34" charset="0"/>
              </a:defRPr>
            </a:lvl4pPr>
            <a:lvl5pPr>
              <a:defRPr sz="1100">
                <a:latin typeface="NBS Light" panose="020B0303030303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DB26099-543D-7048-B454-8E1EDBAA6FBF}"/>
              </a:ext>
            </a:extLst>
          </p:cNvPr>
          <p:cNvCxnSpPr>
            <a:cxnSpLocks/>
          </p:cNvCxnSpPr>
          <p:nvPr userDrawn="1"/>
        </p:nvCxnSpPr>
        <p:spPr>
          <a:xfrm>
            <a:off x="397327" y="6370380"/>
            <a:ext cx="982713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1906F8-524D-4043-91C3-06A688DC7D5F}"/>
              </a:ext>
            </a:extLst>
          </p:cNvPr>
          <p:cNvCxnSpPr>
            <a:cxnSpLocks/>
          </p:cNvCxnSpPr>
          <p:nvPr userDrawn="1"/>
        </p:nvCxnSpPr>
        <p:spPr>
          <a:xfrm>
            <a:off x="397332" y="838202"/>
            <a:ext cx="11388273" cy="1588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Nationwide BS Logo sRGB.png">
            <a:extLst>
              <a:ext uri="{FF2B5EF4-FFF2-40B4-BE49-F238E27FC236}">
                <a16:creationId xmlns:a16="http://schemas.microsoft.com/office/drawing/2014/main" id="{3CD8A363-F7DF-4640-AE62-F09A39555F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4521" y="6224019"/>
            <a:ext cx="1366683" cy="59096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523C937-2BC6-4CA5-ABC1-C590359CCA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900" y="588282"/>
            <a:ext cx="11531600" cy="213261"/>
          </a:xfrm>
        </p:spPr>
        <p:txBody>
          <a:bodyPr vert="horz" lIns="0" tIns="0" rIns="91440" bIns="0" rtlCol="0" anchor="t">
            <a:noAutofit/>
          </a:bodyPr>
          <a:lstStyle>
            <a:lvl1pPr>
              <a:defRPr lang="en-GB" sz="1400" b="0" dirty="0">
                <a:solidFill>
                  <a:schemeClr val="tx1"/>
                </a:solidFill>
                <a:latin typeface="NBS Medium" pitchFamily="2" charset="0"/>
                <a:ea typeface="+mj-ea"/>
                <a:cs typeface="NBS Medium" pitchFamily="2" charset="0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</a:t>
            </a:r>
            <a:endParaRPr lang="en-GB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64FDC37-03A1-43A4-823D-80A65BCABF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883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8001" y="768000"/>
            <a:ext cx="7109908" cy="1683872"/>
          </a:xfrm>
        </p:spPr>
        <p:txBody>
          <a:bodyPr rIns="0" anchor="ctr" anchorCtr="0">
            <a:normAutofit/>
          </a:bodyPr>
          <a:lstStyle>
            <a:lvl1pPr algn="l">
              <a:defRPr sz="4000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9" y="2573867"/>
            <a:ext cx="7109916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600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1EE410-FAB9-2C4F-9B91-EE6A2AC9080C}"/>
              </a:ext>
            </a:extLst>
          </p:cNvPr>
          <p:cNvSpPr txBox="1"/>
          <p:nvPr userDrawn="1"/>
        </p:nvSpPr>
        <p:spPr>
          <a:xfrm>
            <a:off x="6533072" y="-21163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400">
              <a:solidFill>
                <a:schemeClr val="bg1">
                  <a:lumMod val="50000"/>
                </a:schemeClr>
              </a:solidFill>
              <a:latin typeface="NBS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2636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 logo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700B01A-14EA-9046-A3DD-59772FC10606}"/>
              </a:ext>
            </a:extLst>
          </p:cNvPr>
          <p:cNvSpPr/>
          <p:nvPr userDrawn="1"/>
        </p:nvSpPr>
        <p:spPr>
          <a:xfrm>
            <a:off x="479997" y="480001"/>
            <a:ext cx="7688643" cy="3530987"/>
          </a:xfrm>
          <a:prstGeom prst="roundRect">
            <a:avLst>
              <a:gd name="adj" fmla="val 36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8001" y="768000"/>
            <a:ext cx="7109908" cy="1683872"/>
          </a:xfrm>
        </p:spPr>
        <p:txBody>
          <a:bodyPr rIns="0" anchor="ctr" anchorCtr="0">
            <a:normAutofit/>
          </a:bodyPr>
          <a:lstStyle>
            <a:lvl1pPr algn="l">
              <a:defRPr sz="4000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9" y="2573867"/>
            <a:ext cx="7109916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600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1EE410-FAB9-2C4F-9B91-EE6A2AC9080C}"/>
              </a:ext>
            </a:extLst>
          </p:cNvPr>
          <p:cNvSpPr txBox="1"/>
          <p:nvPr userDrawn="1"/>
        </p:nvSpPr>
        <p:spPr>
          <a:xfrm>
            <a:off x="6533072" y="-21163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400">
              <a:solidFill>
                <a:schemeClr val="bg1">
                  <a:lumMod val="50000"/>
                </a:schemeClr>
              </a:solidFill>
              <a:latin typeface="NBS Light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657CCC7-BA25-0745-BFE3-82C6997685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1816" y="3646823"/>
            <a:ext cx="1826091" cy="72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0211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ue logo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700B01A-14EA-9046-A3DD-59772FC10606}"/>
              </a:ext>
            </a:extLst>
          </p:cNvPr>
          <p:cNvSpPr/>
          <p:nvPr userDrawn="1"/>
        </p:nvSpPr>
        <p:spPr>
          <a:xfrm>
            <a:off x="479997" y="480001"/>
            <a:ext cx="7688643" cy="3530987"/>
          </a:xfrm>
          <a:prstGeom prst="roundRect">
            <a:avLst>
              <a:gd name="adj" fmla="val 36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8001" y="768000"/>
            <a:ext cx="7109908" cy="1683872"/>
          </a:xfrm>
        </p:spPr>
        <p:txBody>
          <a:bodyPr rIns="0" anchor="ctr" anchorCtr="0">
            <a:normAutofit/>
          </a:bodyPr>
          <a:lstStyle>
            <a:lvl1pPr algn="l">
              <a:defRPr sz="4000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9" y="2573867"/>
            <a:ext cx="7109916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600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1EE410-FAB9-2C4F-9B91-EE6A2AC9080C}"/>
              </a:ext>
            </a:extLst>
          </p:cNvPr>
          <p:cNvSpPr txBox="1"/>
          <p:nvPr userDrawn="1"/>
        </p:nvSpPr>
        <p:spPr>
          <a:xfrm>
            <a:off x="6533072" y="-21163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400">
              <a:solidFill>
                <a:schemeClr val="bg1">
                  <a:lumMod val="50000"/>
                </a:schemeClr>
              </a:solidFill>
              <a:latin typeface="NBS Light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64D61F8-9CFC-DF4D-8799-144A733C5F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1820" y="3647939"/>
            <a:ext cx="1826089" cy="72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766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 logo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700B01A-14EA-9046-A3DD-59772FC10606}"/>
              </a:ext>
            </a:extLst>
          </p:cNvPr>
          <p:cNvSpPr/>
          <p:nvPr userDrawn="1"/>
        </p:nvSpPr>
        <p:spPr>
          <a:xfrm>
            <a:off x="479997" y="480000"/>
            <a:ext cx="7688643" cy="3530987"/>
          </a:xfrm>
          <a:prstGeom prst="roundRect">
            <a:avLst>
              <a:gd name="adj" fmla="val 36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9" y="768000"/>
            <a:ext cx="7109908" cy="1683872"/>
          </a:xfrm>
        </p:spPr>
        <p:txBody>
          <a:bodyPr rIns="0" anchor="ctr" anchorCtr="0">
            <a:normAutofit/>
          </a:bodyPr>
          <a:lstStyle>
            <a:lvl1pPr algn="l">
              <a:defRPr sz="5333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8" y="2573867"/>
            <a:ext cx="7109916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2133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1EE410-FAB9-2C4F-9B91-EE6A2AC9080C}"/>
              </a:ext>
            </a:extLst>
          </p:cNvPr>
          <p:cNvSpPr txBox="1"/>
          <p:nvPr userDrawn="1"/>
        </p:nvSpPr>
        <p:spPr>
          <a:xfrm>
            <a:off x="6533072" y="-21163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867">
              <a:solidFill>
                <a:schemeClr val="bg1">
                  <a:lumMod val="50000"/>
                </a:schemeClr>
              </a:solidFill>
              <a:latin typeface="NBS Light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657CCC7-BA25-0745-BFE3-82C6997685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1816" y="3646823"/>
            <a:ext cx="1826091" cy="72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3587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9" y="1955748"/>
            <a:ext cx="9409773" cy="1683872"/>
          </a:xfrm>
        </p:spPr>
        <p:txBody>
          <a:bodyPr rIns="0" anchor="t" anchorCtr="0">
            <a:normAutofit/>
          </a:bodyPr>
          <a:lstStyle>
            <a:lvl1pPr algn="l">
              <a:defRPr sz="4000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7" y="3761615"/>
            <a:ext cx="9409784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600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8CE19F-8551-9D4E-8C2E-0780661A33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6100" y="5866029"/>
            <a:ext cx="1826089" cy="72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7108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u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9" y="1955748"/>
            <a:ext cx="9409773" cy="1683872"/>
          </a:xfrm>
        </p:spPr>
        <p:txBody>
          <a:bodyPr rIns="0" anchor="t" anchorCtr="0">
            <a:normAutofit/>
          </a:bodyPr>
          <a:lstStyle>
            <a:lvl1pPr algn="l">
              <a:defRPr sz="4000" b="1" i="0">
                <a:solidFill>
                  <a:schemeClr val="bg1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7" y="3761615"/>
            <a:ext cx="9409784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5924B8-1A54-8243-88D6-210B0CDBB1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9213" y="5864787"/>
            <a:ext cx="1826091" cy="72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1771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3" y="1953759"/>
            <a:ext cx="9750852" cy="498598"/>
          </a:xfrm>
        </p:spPr>
        <p:txBody>
          <a:bodyPr rIns="0" anchor="t" anchorCtr="0">
            <a:spAutoFit/>
          </a:bodyPr>
          <a:lstStyle>
            <a:lvl1pPr algn="l">
              <a:defRPr sz="3600" b="1" i="0">
                <a:solidFill>
                  <a:schemeClr val="bg1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8001" y="2827224"/>
            <a:ext cx="9750852" cy="250133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4385EBE-B491-E642-8223-0B97C2D199CA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bg1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7AAC27A-0E81-D846-9DDA-B33A070C24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8984" y="6112493"/>
            <a:ext cx="1207305" cy="480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9652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3" y="1953759"/>
            <a:ext cx="9750852" cy="498598"/>
          </a:xfrm>
        </p:spPr>
        <p:txBody>
          <a:bodyPr rIns="0" anchor="t" anchorCtr="0">
            <a:spAutoFit/>
          </a:bodyPr>
          <a:lstStyle>
            <a:lvl1pPr algn="l">
              <a:defRPr sz="3600" b="1" i="0">
                <a:solidFill>
                  <a:schemeClr val="bg1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8001" y="2827224"/>
            <a:ext cx="9750852" cy="250133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3A30CBC-9E33-5E47-BE17-3255EAD13E5C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bg1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42A5229F-05B4-E74E-93BB-3859B4691A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8984" y="6112493"/>
            <a:ext cx="1207305" cy="480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4363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3" y="1953759"/>
            <a:ext cx="9750852" cy="498598"/>
          </a:xfrm>
        </p:spPr>
        <p:txBody>
          <a:bodyPr rIns="0" anchor="t" anchorCtr="0">
            <a:spAutoFit/>
          </a:bodyPr>
          <a:lstStyle>
            <a:lvl1pPr algn="l">
              <a:defRPr sz="3600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8001" y="2827224"/>
            <a:ext cx="9750852" cy="250133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1600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4385EBE-B491-E642-8223-0B97C2D199CA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72EA3760-AB7B-D348-9D09-9C87FFF6C1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5" y="6112491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6887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FC6E7-A073-6247-A4A6-FD4F540E8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FF5BD0-267C-2F42-BFEB-F684E2B7C4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369A2A8-8973-6745-A42D-4140D835FB2B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0464287-447C-EC43-BB06-265D1A30E855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6C517DE-E8CB-9048-9FAF-9C3A41F77E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5" y="6112491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8129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62AE13-9D8F-5946-8EE8-EAC60CA587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C6E464-2D70-7C44-BFBE-BF8E4E8AFD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239631"/>
            <a:ext cx="11328003" cy="505057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DCFD44-7BBF-1240-BC04-695ED2C8A15E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45DADB3-05AB-164B-8644-C273A8681081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590D87-1EB7-6943-9DC1-E8C3C91B50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5" y="6112491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6189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62AE13-9D8F-5946-8EE8-EAC60CA587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C6E464-2D70-7C44-BFBE-BF8E4E8AFD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239631"/>
            <a:ext cx="5472000" cy="50702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99CBC46-3A9B-6A47-849E-41D52FB0FD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36000" y="1239631"/>
            <a:ext cx="5472000" cy="50702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5D66A56-CF30-1D47-84BF-41E9C208FD1C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C91C96C-F9C0-2741-96F4-B295739144C4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329D065-34E5-D946-B496-09036BD2DE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5" y="6112491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146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D13C96-FD19-DA40-BE01-6080CD296E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997" y="908186"/>
            <a:ext cx="11328003" cy="509779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62AE13-9D8F-5946-8EE8-EAC60CA587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CFE09E-05F4-BF4C-8812-ABDF9A167A45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B86E5A25-BB52-2543-9E62-09D2C39093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5" y="6112491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4674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D13C96-FD19-DA40-BE01-6080CD296E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10357" y="1391480"/>
            <a:ext cx="6897644" cy="442434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62AE13-9D8F-5946-8EE8-EAC60CA587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E11292A-3C3A-144F-860A-961A735320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391479"/>
            <a:ext cx="3648000" cy="4898607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/>
            </a:pPr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CFE09E-05F4-BF4C-8812-ABDF9A167A45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C046A8-54EB-CB48-8287-4E083377D630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6397E59-1C92-F341-8BCB-136C11B58A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5" y="6112491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300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ue logo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700B01A-14EA-9046-A3DD-59772FC10606}"/>
              </a:ext>
            </a:extLst>
          </p:cNvPr>
          <p:cNvSpPr/>
          <p:nvPr userDrawn="1"/>
        </p:nvSpPr>
        <p:spPr>
          <a:xfrm>
            <a:off x="479997" y="480000"/>
            <a:ext cx="7688643" cy="3530987"/>
          </a:xfrm>
          <a:prstGeom prst="roundRect">
            <a:avLst>
              <a:gd name="adj" fmla="val 36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9" y="768000"/>
            <a:ext cx="7109908" cy="1683872"/>
          </a:xfrm>
        </p:spPr>
        <p:txBody>
          <a:bodyPr rIns="0" anchor="ctr" anchorCtr="0">
            <a:normAutofit/>
          </a:bodyPr>
          <a:lstStyle>
            <a:lvl1pPr algn="l">
              <a:defRPr sz="5333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8" y="2573867"/>
            <a:ext cx="7109916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2133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1EE410-FAB9-2C4F-9B91-EE6A2AC9080C}"/>
              </a:ext>
            </a:extLst>
          </p:cNvPr>
          <p:cNvSpPr txBox="1"/>
          <p:nvPr userDrawn="1"/>
        </p:nvSpPr>
        <p:spPr>
          <a:xfrm>
            <a:off x="6533072" y="-211634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867">
              <a:solidFill>
                <a:schemeClr val="bg1">
                  <a:lumMod val="50000"/>
                </a:schemeClr>
              </a:solidFill>
              <a:latin typeface="NBS Light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64D61F8-9CFC-DF4D-8799-144A733C5F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1818" y="3647938"/>
            <a:ext cx="1826089" cy="72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1846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Multipl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D13C96-FD19-DA40-BE01-6080CD296E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87200" y="1391480"/>
            <a:ext cx="3216000" cy="2016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BD8FD51-33B8-9748-AE1F-0BBD506319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587200" y="3801600"/>
            <a:ext cx="3216000" cy="2016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87B9A114-6238-E54F-A23F-FE926AA537F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10355" y="1391480"/>
            <a:ext cx="3216000" cy="2016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15BAE90-4A2E-584D-A8AA-4A229D59EBA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10355" y="3801600"/>
            <a:ext cx="3216000" cy="2016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62AE13-9D8F-5946-8EE8-EAC60CA587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35B350A-79D0-0C41-B081-5745FA21A8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391481"/>
            <a:ext cx="3648000" cy="4896517"/>
          </a:xfrm>
        </p:spPr>
        <p:txBody>
          <a:bodyPr/>
          <a:lstStyle>
            <a:lvl1pPr>
              <a:lnSpc>
                <a:spcPct val="110000"/>
              </a:lnSpc>
              <a:spcBef>
                <a:spcPts val="300"/>
              </a:spcBef>
              <a:defRPr/>
            </a:lvl1pPr>
            <a:lvl2pPr>
              <a:lnSpc>
                <a:spcPct val="110000"/>
              </a:lnSpc>
              <a:spcBef>
                <a:spcPts val="300"/>
              </a:spcBef>
              <a:defRPr/>
            </a:lvl2pPr>
            <a:lvl3pPr>
              <a:lnSpc>
                <a:spcPct val="110000"/>
              </a:lnSpc>
              <a:spcBef>
                <a:spcPts val="300"/>
              </a:spcBef>
              <a:defRPr/>
            </a:lvl3pPr>
            <a:lvl4pPr>
              <a:lnSpc>
                <a:spcPct val="110000"/>
              </a:lnSpc>
              <a:spcBef>
                <a:spcPts val="300"/>
              </a:spcBef>
              <a:defRPr/>
            </a:lvl4pPr>
            <a:lvl5pPr>
              <a:lnSpc>
                <a:spcPct val="110000"/>
              </a:lnSpc>
              <a:spcBef>
                <a:spcPts val="3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 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30C4547-27B1-6C45-A2EF-D532F12E2D3A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FC28310-90D7-534C-AC66-7B5B9048800F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CA77B04-3213-2947-8D33-51A755976F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5" y="6112491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6260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39271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6B5933-93C7-7843-ACA8-CA1D45F35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62AE13-9D8F-5946-8EE8-EAC60CA587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C6E464-2D70-7C44-BFBE-BF8E4E8AFD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239631"/>
            <a:ext cx="11328003" cy="505057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DCFD44-7BBF-1240-BC04-695ED2C8A15E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45DADB3-05AB-164B-8644-C273A8681081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3590D87-1EB7-6943-9DC1-E8C3C91B50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4" y="6112490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3665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292EAC-3B4A-614C-8815-427E2A6E0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06A190-4391-DD45-ACC3-6576838A7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D40D8A-854D-A948-B160-AF16B5E15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3517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9" y="1955748"/>
            <a:ext cx="9409773" cy="1683872"/>
          </a:xfrm>
        </p:spPr>
        <p:txBody>
          <a:bodyPr rIns="0" anchor="t" anchorCtr="0">
            <a:normAutofit/>
          </a:bodyPr>
          <a:lstStyle>
            <a:lvl1pPr algn="l">
              <a:defRPr sz="5333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7" y="3761615"/>
            <a:ext cx="9409784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2133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8CE19F-8551-9D4E-8C2E-0780661A33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6098" y="5866028"/>
            <a:ext cx="1826089" cy="72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162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u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9" y="1955748"/>
            <a:ext cx="9409773" cy="1683872"/>
          </a:xfrm>
        </p:spPr>
        <p:txBody>
          <a:bodyPr rIns="0" anchor="t" anchorCtr="0">
            <a:normAutofit/>
          </a:bodyPr>
          <a:lstStyle>
            <a:lvl1pPr algn="l">
              <a:defRPr sz="5333" b="1" i="0">
                <a:solidFill>
                  <a:schemeClr val="bg1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37" y="3761615"/>
            <a:ext cx="9409784" cy="65024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2133" b="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5924B8-1A54-8243-88D6-210B0CDBB1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9213" y="5864786"/>
            <a:ext cx="1826091" cy="72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9496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1" y="1953759"/>
            <a:ext cx="9750852" cy="664797"/>
          </a:xfrm>
        </p:spPr>
        <p:txBody>
          <a:bodyPr rIns="0" anchor="t" anchorCtr="0">
            <a:spAutoFit/>
          </a:bodyPr>
          <a:lstStyle>
            <a:lvl1pPr algn="l">
              <a:defRPr sz="4800" b="1" i="0">
                <a:solidFill>
                  <a:schemeClr val="bg1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7999" y="2827223"/>
            <a:ext cx="9750852" cy="336844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133" b="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4385EBE-B491-E642-8223-0B97C2D199CA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bg1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7AAC27A-0E81-D846-9DDA-B33A070C24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8982" y="6112493"/>
            <a:ext cx="1207305" cy="480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5044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1" y="1953759"/>
            <a:ext cx="9750852" cy="664797"/>
          </a:xfrm>
        </p:spPr>
        <p:txBody>
          <a:bodyPr rIns="0" anchor="t" anchorCtr="0">
            <a:spAutoFit/>
          </a:bodyPr>
          <a:lstStyle>
            <a:lvl1pPr algn="l">
              <a:defRPr sz="4800" b="1" i="0">
                <a:solidFill>
                  <a:schemeClr val="bg1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7999" y="2827223"/>
            <a:ext cx="9750852" cy="336844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133" b="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3A30CBC-9E33-5E47-BE17-3255EAD13E5C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bg1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42A5229F-05B4-E74E-93BB-3859B4691A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8982" y="6112493"/>
            <a:ext cx="1207305" cy="480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918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76FE3-62A6-534F-A4EF-02518642A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1" y="1953759"/>
            <a:ext cx="9750852" cy="664797"/>
          </a:xfrm>
        </p:spPr>
        <p:txBody>
          <a:bodyPr rIns="0" anchor="t" anchorCtr="0">
            <a:spAutoFit/>
          </a:bodyPr>
          <a:lstStyle>
            <a:lvl1pPr algn="l">
              <a:defRPr sz="4800" b="1" i="0">
                <a:solidFill>
                  <a:schemeClr val="bg2"/>
                </a:solidFill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35E55-CD10-A448-87C0-102FFF19F6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7999" y="2827223"/>
            <a:ext cx="9750852" cy="336844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133" b="0">
                <a:solidFill>
                  <a:schemeClr val="accent6">
                    <a:lumMod val="65000"/>
                    <a:lumOff val="35000"/>
                  </a:schemeClr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4385EBE-B491-E642-8223-0B97C2D199CA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72EA3760-AB7B-D348-9D09-9C87FFF6C1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4" y="6112490"/>
            <a:ext cx="1207311" cy="480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650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FC6E7-A073-6247-A4A6-FD4F540E8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NBS Medium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369A2A8-8973-6745-A42D-4140D835FB2B}"/>
              </a:ext>
            </a:extLst>
          </p:cNvPr>
          <p:cNvCxnSpPr>
            <a:cxnSpLocks/>
          </p:cNvCxnSpPr>
          <p:nvPr userDrawn="1"/>
        </p:nvCxnSpPr>
        <p:spPr>
          <a:xfrm>
            <a:off x="480000" y="6414680"/>
            <a:ext cx="10017424" cy="0"/>
          </a:xfrm>
          <a:prstGeom prst="line">
            <a:avLst/>
          </a:prstGeom>
          <a:ln w="12700" cap="rnd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0464287-447C-EC43-BB06-265D1A30E855}"/>
              </a:ext>
            </a:extLst>
          </p:cNvPr>
          <p:cNvCxnSpPr>
            <a:cxnSpLocks/>
          </p:cNvCxnSpPr>
          <p:nvPr userDrawn="1"/>
        </p:nvCxnSpPr>
        <p:spPr>
          <a:xfrm flipH="1">
            <a:off x="480000" y="908184"/>
            <a:ext cx="11328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6C517DE-E8CB-9048-9FAF-9C3A41F77E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994" y="6112490"/>
            <a:ext cx="1207311" cy="480879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77EBF98-EB1C-4DBA-ADF3-64ED695A6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39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0000" y="336000"/>
            <a:ext cx="10655832" cy="432000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00" y="1239631"/>
            <a:ext cx="11328000" cy="50505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9998" y="6528000"/>
            <a:ext cx="9587639" cy="33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 b="0" i="0">
                <a:solidFill>
                  <a:schemeClr val="accent6">
                    <a:lumMod val="65000"/>
                    <a:lumOff val="35000"/>
                  </a:schemeClr>
                </a:solidFill>
                <a:latin typeface="NBS Light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036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723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724" r:id="rId16"/>
  </p:sldLayoutIdLst>
  <p:hf sldNum="0"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NBS Medium" pitchFamily="2" charset="0"/>
          <a:ea typeface="+mj-ea"/>
          <a:cs typeface="NBS Medium" pitchFamily="2" charset="0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SzPct val="120000"/>
        <a:buFontTx/>
        <a:buNone/>
        <a:defRPr sz="1867" b="1" i="0" kern="1200" baseline="0">
          <a:solidFill>
            <a:schemeClr val="bg2"/>
          </a:solidFill>
          <a:latin typeface="NBS Light"/>
          <a:ea typeface="+mn-ea"/>
          <a:cs typeface="NBS Light"/>
        </a:defRPr>
      </a:lvl1pPr>
      <a:lvl2pPr marL="6351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SzPct val="120000"/>
        <a:buFontTx/>
        <a:buNone/>
        <a:tabLst/>
        <a:defRPr sz="1867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2pPr>
      <a:lvl3pPr marL="191995" indent="-191995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tabLst/>
        <a:defRPr sz="1867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3pPr>
      <a:lvl4pPr marL="191995" indent="-191995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bg2"/>
        </a:buClr>
        <a:buFont typeface="Arial" panose="020B0604020202020204" pitchFamily="34" charset="0"/>
        <a:buChar char="•"/>
        <a:tabLst/>
        <a:defRPr sz="1867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4pPr>
      <a:lvl5pPr marL="6351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FontTx/>
        <a:buNone/>
        <a:tabLst/>
        <a:defRPr sz="1333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0000" y="336000"/>
            <a:ext cx="10655832" cy="432000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00" y="1239631"/>
            <a:ext cx="11328000" cy="50505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9999" y="6528000"/>
            <a:ext cx="9587639" cy="33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 b="0" i="0">
                <a:solidFill>
                  <a:schemeClr val="accent6">
                    <a:lumMod val="65000"/>
                    <a:lumOff val="35000"/>
                  </a:schemeClr>
                </a:solidFill>
                <a:latin typeface="NBS Light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5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17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</p:sldLayoutIdLs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100" b="1" i="0" kern="1200" baseline="0">
          <a:solidFill>
            <a:schemeClr val="tx1"/>
          </a:solidFill>
          <a:latin typeface="NBS Medium" pitchFamily="2" charset="0"/>
          <a:ea typeface="+mj-ea"/>
          <a:cs typeface="NBS Medium" pitchFamily="2" charset="0"/>
        </a:defRPr>
      </a:lvl1pPr>
    </p:titleStyle>
    <p:bodyStyle>
      <a:lvl1pPr marL="0" indent="0" algn="l" defTabSz="4572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SzPct val="120000"/>
        <a:buFontTx/>
        <a:buNone/>
        <a:defRPr sz="1400" b="1" i="0" kern="1200" baseline="0">
          <a:solidFill>
            <a:schemeClr val="bg2"/>
          </a:solidFill>
          <a:latin typeface="NBS Light"/>
          <a:ea typeface="+mn-ea"/>
          <a:cs typeface="NBS Light"/>
        </a:defRPr>
      </a:lvl1pPr>
      <a:lvl2pPr marL="4763" indent="0" algn="l" defTabSz="4572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SzPct val="120000"/>
        <a:buFontTx/>
        <a:buNone/>
        <a:tabLst/>
        <a:defRPr sz="1400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2pPr>
      <a:lvl3pPr marL="144000" indent="-144000" algn="l" defTabSz="4572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tabLst/>
        <a:defRPr sz="1400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3pPr>
      <a:lvl4pPr marL="144000" indent="-144000" algn="l" defTabSz="4572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bg2"/>
        </a:buClr>
        <a:buFont typeface="Arial" panose="020B0604020202020204" pitchFamily="34" charset="0"/>
        <a:buChar char="•"/>
        <a:tabLst/>
        <a:defRPr sz="1400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4pPr>
      <a:lvl5pPr marL="4763" indent="0" algn="l" defTabSz="4572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FontTx/>
        <a:buNone/>
        <a:tabLst/>
        <a:defRPr sz="1000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0000" y="336000"/>
            <a:ext cx="10655832" cy="432000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00" y="1239631"/>
            <a:ext cx="11328000" cy="50505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9998" y="6528000"/>
            <a:ext cx="9587639" cy="33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 b="0" i="0">
                <a:solidFill>
                  <a:schemeClr val="accent6">
                    <a:lumMod val="65000"/>
                    <a:lumOff val="35000"/>
                  </a:schemeClr>
                </a:solidFill>
                <a:latin typeface="NBS Light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644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NBS Medium" pitchFamily="2" charset="0"/>
          <a:ea typeface="+mj-ea"/>
          <a:cs typeface="NBS Medium" pitchFamily="2" charset="0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SzPct val="120000"/>
        <a:buFontTx/>
        <a:buNone/>
        <a:defRPr sz="1867" b="1" i="0" kern="1200" baseline="0">
          <a:solidFill>
            <a:schemeClr val="bg2"/>
          </a:solidFill>
          <a:latin typeface="NBS Light"/>
          <a:ea typeface="+mn-ea"/>
          <a:cs typeface="NBS Light"/>
        </a:defRPr>
      </a:lvl1pPr>
      <a:lvl2pPr marL="6351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SzPct val="120000"/>
        <a:buFontTx/>
        <a:buNone/>
        <a:tabLst/>
        <a:defRPr sz="1867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2pPr>
      <a:lvl3pPr marL="191995" indent="-191995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tabLst/>
        <a:defRPr sz="1867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3pPr>
      <a:lvl4pPr marL="191995" indent="-191995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bg2"/>
        </a:buClr>
        <a:buFont typeface="Arial" panose="020B0604020202020204" pitchFamily="34" charset="0"/>
        <a:buChar char="•"/>
        <a:tabLst/>
        <a:defRPr sz="1867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4pPr>
      <a:lvl5pPr marL="6351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FontTx/>
        <a:buNone/>
        <a:tabLst/>
        <a:defRPr sz="1333" b="0" i="0" kern="1200" baseline="0">
          <a:solidFill>
            <a:schemeClr val="accent6">
              <a:lumMod val="65000"/>
              <a:lumOff val="35000"/>
            </a:schemeClr>
          </a:solidFill>
          <a:latin typeface="NBS Light"/>
          <a:ea typeface="+mn-ea"/>
          <a:cs typeface="NBS Light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11CA1F-15D3-C749-98E5-2F0291D4E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D5932-18AD-2143-826D-F5793D802B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202E31-C264-5046-8D02-D8BB8E364D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E9A203-444C-9B4B-8E1D-CB4391A60461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6A0DED-574C-9C40-9C39-45730CF02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C0A32-08EE-E947-99D1-213768D80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380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4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5.png"/><Relationship Id="rId18" Type="http://schemas.openxmlformats.org/officeDocument/2006/relationships/image" Target="../media/image50.svg"/><Relationship Id="rId3" Type="http://schemas.openxmlformats.org/officeDocument/2006/relationships/image" Target="../media/image35.png"/><Relationship Id="rId21" Type="http://schemas.openxmlformats.org/officeDocument/2006/relationships/image" Target="../media/image53.png"/><Relationship Id="rId7" Type="http://schemas.openxmlformats.org/officeDocument/2006/relationships/image" Target="../media/image39.png"/><Relationship Id="rId12" Type="http://schemas.openxmlformats.org/officeDocument/2006/relationships/image" Target="../media/image44.svg"/><Relationship Id="rId17" Type="http://schemas.openxmlformats.org/officeDocument/2006/relationships/image" Target="../media/image49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48.svg"/><Relationship Id="rId20" Type="http://schemas.openxmlformats.org/officeDocument/2006/relationships/image" Target="../media/image5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8.svg"/><Relationship Id="rId11" Type="http://schemas.openxmlformats.org/officeDocument/2006/relationships/image" Target="../media/image43.png"/><Relationship Id="rId24" Type="http://schemas.openxmlformats.org/officeDocument/2006/relationships/image" Target="../media/image56.sv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23" Type="http://schemas.openxmlformats.org/officeDocument/2006/relationships/image" Target="../media/image55.png"/><Relationship Id="rId10" Type="http://schemas.openxmlformats.org/officeDocument/2006/relationships/image" Target="../media/image42.svg"/><Relationship Id="rId19" Type="http://schemas.openxmlformats.org/officeDocument/2006/relationships/image" Target="../media/image51.pn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46.svg"/><Relationship Id="rId22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5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6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7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8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9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10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11.wdp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B5056BC8-9C0B-C744-8D8C-179EF559573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6BAABEF6-F047-DB4A-A79A-CFBD2631FB7A}"/>
              </a:ext>
            </a:extLst>
          </p:cNvPr>
          <p:cNvSpPr/>
          <p:nvPr/>
        </p:nvSpPr>
        <p:spPr>
          <a:xfrm>
            <a:off x="437323" y="552285"/>
            <a:ext cx="11370212" cy="14465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US" sz="4400" spc="-120">
                <a:solidFill>
                  <a:schemeClr val="bg1"/>
                </a:solidFill>
                <a:latin typeface="Brandon Grotesque Medium"/>
                <a:cs typeface="Calibri"/>
              </a:rPr>
              <a:t>Intelligent Control</a:t>
            </a:r>
          </a:p>
          <a:p>
            <a:pPr>
              <a:defRPr/>
            </a:pPr>
            <a:r>
              <a:rPr lang="en-US" sz="4400" spc="-120">
                <a:solidFill>
                  <a:schemeClr val="bg1"/>
                </a:solidFill>
                <a:latin typeface="Brandon Grotesque Medium"/>
                <a:cs typeface="Calibri"/>
              </a:rPr>
              <a:t>Enabling safety at spe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1EFA03-5B34-684A-828E-9B3A3A45BD14}"/>
              </a:ext>
            </a:extLst>
          </p:cNvPr>
          <p:cNvSpPr txBox="1"/>
          <p:nvPr/>
        </p:nvSpPr>
        <p:spPr>
          <a:xfrm>
            <a:off x="524542" y="2259449"/>
            <a:ext cx="10590010" cy="14157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en-US" sz="2000" dirty="0">
                <a:solidFill>
                  <a:schemeClr val="bg1"/>
                </a:solidFill>
                <a:latin typeface="Calibri"/>
                <a:cs typeface="Calibri"/>
              </a:rPr>
              <a:t>Leanne Bridges</a:t>
            </a:r>
            <a:br>
              <a:rPr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randon Grotesque Regular"/>
                <a:cs typeface="Calibri"/>
              </a:rPr>
              <a:t>Chief Product Owner: Intelligent Control, </a:t>
            </a:r>
            <a:r>
              <a:rPr lang="en-US" i="1" dirty="0">
                <a:solidFill>
                  <a:schemeClr val="bg1"/>
                </a:solidFill>
                <a:latin typeface="Brandon Grotesque Regular"/>
                <a:cs typeface="Calibri"/>
              </a:rPr>
              <a:t>Nationwide Building Society</a:t>
            </a:r>
            <a:endParaRPr lang="en-US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randon Grotesque Regular"/>
              <a:cs typeface="Calibri"/>
            </a:endParaRPr>
          </a:p>
          <a:p>
            <a:pPr>
              <a:spcAft>
                <a:spcPts val="1200"/>
              </a:spcAft>
              <a:defRPr/>
            </a:pPr>
            <a:r>
              <a:rPr lang="en-US" sz="2000" dirty="0">
                <a:solidFill>
                  <a:schemeClr val="bg1"/>
                </a:solidFill>
                <a:latin typeface="Calibri"/>
                <a:cs typeface="Calibri"/>
              </a:rPr>
              <a:t>Mark Rendell </a:t>
            </a:r>
            <a:br>
              <a:rPr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i="1" dirty="0">
                <a:solidFill>
                  <a:schemeClr val="bg1"/>
                </a:solidFill>
                <a:latin typeface="Brandon Grotesque Regular"/>
                <a:cs typeface="Calibri"/>
              </a:rPr>
              <a:t>DevOps and SRE Consultant,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randon Grotesque Regular"/>
                <a:cs typeface="Calibri"/>
              </a:rPr>
              <a:t> </a:t>
            </a:r>
            <a:r>
              <a:rPr lang="en-US" i="1" dirty="0">
                <a:solidFill>
                  <a:schemeClr val="bg1"/>
                </a:solidFill>
                <a:latin typeface="Brandon Grotesque Regular"/>
                <a:cs typeface="Calibri"/>
              </a:rPr>
              <a:t>Nationwide Building Society</a:t>
            </a:r>
            <a:endParaRPr lang="en-US" dirty="0">
              <a:solidFill>
                <a:schemeClr val="bg1"/>
              </a:solidFill>
              <a:latin typeface="Brandon Grotesque Regular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999446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ile Adolescent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8AD614-65E7-5442-8379-E06E8EA148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3646325"/>
            <a:ext cx="5152707" cy="2170818"/>
          </a:xfrm>
        </p:spPr>
        <p:txBody>
          <a:bodyPr>
            <a:normAutofit/>
          </a:bodyPr>
          <a:lstStyle/>
          <a:p>
            <a:pPr>
              <a:spcBef>
                <a:spcPts val="1000"/>
              </a:spcBef>
            </a:pPr>
            <a:r>
              <a:rPr lang="en-US" sz="2200" dirty="0"/>
              <a:t>The guardians: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Still legally and morally accountable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Role has to evolve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Needs to enable autonomy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200" dirty="0"/>
          </a:p>
          <a:p>
            <a:pPr>
              <a:spcBef>
                <a:spcPts val="1000"/>
              </a:spcBef>
            </a:pPr>
            <a:endParaRPr lang="en-US" sz="2200" dirty="0"/>
          </a:p>
        </p:txBody>
      </p:sp>
      <p:pic>
        <p:nvPicPr>
          <p:cNvPr id="4102" name="Picture 6" descr="See the source image">
            <a:extLst>
              <a:ext uri="{FF2B5EF4-FFF2-40B4-BE49-F238E27FC236}">
                <a16:creationId xmlns:a16="http://schemas.microsoft.com/office/drawing/2014/main" id="{7772AFC8-16A2-48A3-8618-51422BBF28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63703" y="1524000"/>
            <a:ext cx="5448300" cy="363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9C7D48F-5582-47BC-9627-958B6E7F5661}"/>
              </a:ext>
            </a:extLst>
          </p:cNvPr>
          <p:cNvSpPr txBox="1">
            <a:spLocks/>
          </p:cNvSpPr>
          <p:nvPr/>
        </p:nvSpPr>
        <p:spPr>
          <a:xfrm>
            <a:off x="480000" y="1226635"/>
            <a:ext cx="5152707" cy="21433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defRPr sz="1867" b="1" i="0" kern="1200" baseline="0">
                <a:solidFill>
                  <a:schemeClr val="bg2"/>
                </a:solidFill>
                <a:latin typeface="NBS Light"/>
                <a:ea typeface="+mn-ea"/>
                <a:cs typeface="NBS Light"/>
              </a:defRPr>
            </a:lvl1pPr>
            <a:lvl2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2pPr>
            <a:lvl3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3pPr>
            <a:lvl4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4pPr>
            <a:lvl5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tabLst/>
              <a:defRPr sz="1333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</a:pPr>
            <a:r>
              <a:rPr lang="en-US" sz="2200"/>
              <a:t>Agile Adolescents :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200"/>
              <a:t>Enthusiastic and ambitiou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200"/>
              <a:t>Progressively more consequences of action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200"/>
              <a:t>Like to challenge the status quo</a:t>
            </a:r>
          </a:p>
          <a:p>
            <a:pPr>
              <a:spcBef>
                <a:spcPts val="1000"/>
              </a:spcBef>
            </a:pPr>
            <a:endParaRPr lang="en-US" sz="2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1964A7-8E47-4AB1-8D0C-6BA6EED66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1561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 knew several years ago that we needed to make changes…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A5550D4-92FB-4476-9DBD-9F164FC21068}"/>
              </a:ext>
            </a:extLst>
          </p:cNvPr>
          <p:cNvCxnSpPr/>
          <p:nvPr/>
        </p:nvCxnSpPr>
        <p:spPr>
          <a:xfrm>
            <a:off x="4009781" y="5600700"/>
            <a:ext cx="2629764" cy="0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8EB495A4-75F5-4BAE-A68E-E241578CF4F0}"/>
              </a:ext>
            </a:extLst>
          </p:cNvPr>
          <p:cNvSpPr txBox="1"/>
          <p:nvPr/>
        </p:nvSpPr>
        <p:spPr>
          <a:xfrm>
            <a:off x="6694963" y="5342792"/>
            <a:ext cx="914400" cy="914400"/>
          </a:xfrm>
          <a:prstGeom prst="rect">
            <a:avLst/>
          </a:prstGeom>
          <a:noFill/>
          <a:ln w="76200">
            <a:noFill/>
          </a:ln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GB" sz="3200" b="1">
                <a:solidFill>
                  <a:schemeClr val="accent6"/>
                </a:solidFill>
                <a:latin typeface="NBS Light" pitchFamily="2" charset="0"/>
              </a:rPr>
              <a:t>Time</a:t>
            </a:r>
          </a:p>
        </p:txBody>
      </p:sp>
      <p:sp>
        <p:nvSpPr>
          <p:cNvPr id="2048" name="Rectangle 2047">
            <a:extLst>
              <a:ext uri="{FF2B5EF4-FFF2-40B4-BE49-F238E27FC236}">
                <a16:creationId xmlns:a16="http://schemas.microsoft.com/office/drawing/2014/main" id="{BBCCD6A7-BA8E-4C65-B8C8-739D4C3740BD}"/>
              </a:ext>
            </a:extLst>
          </p:cNvPr>
          <p:cNvSpPr/>
          <p:nvPr/>
        </p:nvSpPr>
        <p:spPr>
          <a:xfrm>
            <a:off x="483136" y="719666"/>
            <a:ext cx="8128000" cy="5418667"/>
          </a:xfrm>
          <a:prstGeom prst="rect">
            <a:avLst/>
          </a:prstGeom>
          <a:ln>
            <a:noFill/>
          </a:ln>
        </p:spPr>
      </p:sp>
      <p:sp>
        <p:nvSpPr>
          <p:cNvPr id="2049" name="Circle: Hollow 2048">
            <a:extLst>
              <a:ext uri="{FF2B5EF4-FFF2-40B4-BE49-F238E27FC236}">
                <a16:creationId xmlns:a16="http://schemas.microsoft.com/office/drawing/2014/main" id="{DFB30F04-6615-4DE7-B826-2B45B749B8AD}"/>
              </a:ext>
            </a:extLst>
          </p:cNvPr>
          <p:cNvSpPr/>
          <p:nvPr/>
        </p:nvSpPr>
        <p:spPr>
          <a:xfrm>
            <a:off x="486272" y="2983058"/>
            <a:ext cx="1453867" cy="1453867"/>
          </a:xfrm>
          <a:prstGeom prst="donut">
            <a:avLst>
              <a:gd name="adj" fmla="val 20000"/>
            </a:avLst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51" name="Freeform: Shape 2050">
            <a:extLst>
              <a:ext uri="{FF2B5EF4-FFF2-40B4-BE49-F238E27FC236}">
                <a16:creationId xmlns:a16="http://schemas.microsoft.com/office/drawing/2014/main" id="{05A22EE3-129F-41A7-8600-E4D61A6BCAF8}"/>
              </a:ext>
            </a:extLst>
          </p:cNvPr>
          <p:cNvSpPr/>
          <p:nvPr/>
        </p:nvSpPr>
        <p:spPr>
          <a:xfrm rot="17700000">
            <a:off x="998549" y="1797859"/>
            <a:ext cx="1807318" cy="870988"/>
          </a:xfrm>
          <a:custGeom>
            <a:avLst/>
            <a:gdLst>
              <a:gd name="connsiteX0" fmla="*/ 0 w 1807318"/>
              <a:gd name="connsiteY0" fmla="*/ 0 h 870988"/>
              <a:gd name="connsiteX1" fmla="*/ 1807318 w 1807318"/>
              <a:gd name="connsiteY1" fmla="*/ 0 h 870988"/>
              <a:gd name="connsiteX2" fmla="*/ 1807318 w 1807318"/>
              <a:gd name="connsiteY2" fmla="*/ 870988 h 870988"/>
              <a:gd name="connsiteX3" fmla="*/ 0 w 1807318"/>
              <a:gd name="connsiteY3" fmla="*/ 870988 h 870988"/>
              <a:gd name="connsiteX4" fmla="*/ 0 w 1807318"/>
              <a:gd name="connsiteY4" fmla="*/ 0 h 87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7318" h="870988">
                <a:moveTo>
                  <a:pt x="0" y="0"/>
                </a:moveTo>
                <a:lnTo>
                  <a:pt x="1807318" y="0"/>
                </a:lnTo>
                <a:lnTo>
                  <a:pt x="1807318" y="870988"/>
                </a:lnTo>
                <a:lnTo>
                  <a:pt x="0" y="87098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0800" tIns="-1" rIns="0" bIns="0" numCol="1" spcCol="1270" anchor="ctr" anchorCtr="0">
            <a:noAutofit/>
          </a:bodyPr>
          <a:lstStyle/>
          <a:p>
            <a:pPr marL="0" lvl="0" indent="0" algn="l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 kern="1200" dirty="0">
                <a:solidFill>
                  <a:schemeClr val="accent6"/>
                </a:solidFill>
                <a:latin typeface="NBS Light"/>
              </a:rPr>
              <a:t>Formal project methodology</a:t>
            </a:r>
          </a:p>
        </p:txBody>
      </p:sp>
      <p:sp>
        <p:nvSpPr>
          <p:cNvPr id="2055" name="Rectangle 2054">
            <a:extLst>
              <a:ext uri="{FF2B5EF4-FFF2-40B4-BE49-F238E27FC236}">
                <a16:creationId xmlns:a16="http://schemas.microsoft.com/office/drawing/2014/main" id="{320F5F53-2E05-4E85-AB92-18786B832E6F}"/>
              </a:ext>
            </a:extLst>
          </p:cNvPr>
          <p:cNvSpPr/>
          <p:nvPr/>
        </p:nvSpPr>
        <p:spPr>
          <a:xfrm rot="17700000">
            <a:off x="2134662" y="2283143"/>
            <a:ext cx="1563415" cy="75382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60" name="Rectangle 2059">
            <a:extLst>
              <a:ext uri="{FF2B5EF4-FFF2-40B4-BE49-F238E27FC236}">
                <a16:creationId xmlns:a16="http://schemas.microsoft.com/office/drawing/2014/main" id="{516AB212-0FC3-4922-A97C-75E23BE6B993}"/>
              </a:ext>
            </a:extLst>
          </p:cNvPr>
          <p:cNvSpPr/>
          <p:nvPr/>
        </p:nvSpPr>
        <p:spPr>
          <a:xfrm rot="17700000">
            <a:off x="4562200" y="2283143"/>
            <a:ext cx="1563415" cy="75382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66" name="Rectangle 2065">
            <a:extLst>
              <a:ext uri="{FF2B5EF4-FFF2-40B4-BE49-F238E27FC236}">
                <a16:creationId xmlns:a16="http://schemas.microsoft.com/office/drawing/2014/main" id="{87786571-9280-492B-8C12-BA1578750C2E}"/>
              </a:ext>
            </a:extLst>
          </p:cNvPr>
          <p:cNvSpPr/>
          <p:nvPr/>
        </p:nvSpPr>
        <p:spPr>
          <a:xfrm rot="17700000">
            <a:off x="6290287" y="2283143"/>
            <a:ext cx="1563415" cy="75382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69" name="Rectangle 2068">
            <a:extLst>
              <a:ext uri="{FF2B5EF4-FFF2-40B4-BE49-F238E27FC236}">
                <a16:creationId xmlns:a16="http://schemas.microsoft.com/office/drawing/2014/main" id="{A62A5F53-0DB3-422A-B85D-525A2594E889}"/>
              </a:ext>
            </a:extLst>
          </p:cNvPr>
          <p:cNvSpPr/>
          <p:nvPr/>
        </p:nvSpPr>
        <p:spPr>
          <a:xfrm rot="17700000">
            <a:off x="7154331" y="2283143"/>
            <a:ext cx="1563415" cy="75382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225310D-AD21-4693-916A-5CC7D3620D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0654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 knew several years ago that we needed to make changes…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A5550D4-92FB-4476-9DBD-9F164FC21068}"/>
              </a:ext>
            </a:extLst>
          </p:cNvPr>
          <p:cNvCxnSpPr/>
          <p:nvPr/>
        </p:nvCxnSpPr>
        <p:spPr>
          <a:xfrm>
            <a:off x="4009781" y="5600700"/>
            <a:ext cx="2629764" cy="0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8EB495A4-75F5-4BAE-A68E-E241578CF4F0}"/>
              </a:ext>
            </a:extLst>
          </p:cNvPr>
          <p:cNvSpPr txBox="1"/>
          <p:nvPr/>
        </p:nvSpPr>
        <p:spPr>
          <a:xfrm>
            <a:off x="6694963" y="5342792"/>
            <a:ext cx="914400" cy="914400"/>
          </a:xfrm>
          <a:prstGeom prst="rect">
            <a:avLst/>
          </a:prstGeom>
          <a:noFill/>
          <a:ln w="76200">
            <a:noFill/>
          </a:ln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GB" sz="3200" b="1">
                <a:solidFill>
                  <a:schemeClr val="accent6"/>
                </a:solidFill>
                <a:latin typeface="NBS Light" pitchFamily="2" charset="0"/>
              </a:rPr>
              <a:t>Time</a:t>
            </a:r>
          </a:p>
        </p:txBody>
      </p:sp>
      <p:sp>
        <p:nvSpPr>
          <p:cNvPr id="2048" name="Rectangle 2047">
            <a:extLst>
              <a:ext uri="{FF2B5EF4-FFF2-40B4-BE49-F238E27FC236}">
                <a16:creationId xmlns:a16="http://schemas.microsoft.com/office/drawing/2014/main" id="{BBCCD6A7-BA8E-4C65-B8C8-739D4C3740BD}"/>
              </a:ext>
            </a:extLst>
          </p:cNvPr>
          <p:cNvSpPr/>
          <p:nvPr/>
        </p:nvSpPr>
        <p:spPr>
          <a:xfrm>
            <a:off x="480000" y="719666"/>
            <a:ext cx="8128000" cy="5418667"/>
          </a:xfrm>
          <a:prstGeom prst="rect">
            <a:avLst/>
          </a:prstGeom>
          <a:ln>
            <a:noFill/>
          </a:ln>
        </p:spPr>
      </p:sp>
      <p:sp>
        <p:nvSpPr>
          <p:cNvPr id="2049" name="Circle: Hollow 2048">
            <a:extLst>
              <a:ext uri="{FF2B5EF4-FFF2-40B4-BE49-F238E27FC236}">
                <a16:creationId xmlns:a16="http://schemas.microsoft.com/office/drawing/2014/main" id="{DFB30F04-6615-4DE7-B826-2B45B749B8AD}"/>
              </a:ext>
            </a:extLst>
          </p:cNvPr>
          <p:cNvSpPr/>
          <p:nvPr/>
        </p:nvSpPr>
        <p:spPr>
          <a:xfrm>
            <a:off x="483136" y="2983058"/>
            <a:ext cx="1453867" cy="1453867"/>
          </a:xfrm>
          <a:prstGeom prst="donut">
            <a:avLst>
              <a:gd name="adj" fmla="val 20000"/>
            </a:avLst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51" name="Freeform: Shape 2050">
            <a:extLst>
              <a:ext uri="{FF2B5EF4-FFF2-40B4-BE49-F238E27FC236}">
                <a16:creationId xmlns:a16="http://schemas.microsoft.com/office/drawing/2014/main" id="{05A22EE3-129F-41A7-8600-E4D61A6BCAF8}"/>
              </a:ext>
            </a:extLst>
          </p:cNvPr>
          <p:cNvSpPr/>
          <p:nvPr/>
        </p:nvSpPr>
        <p:spPr>
          <a:xfrm rot="17700000">
            <a:off x="995413" y="1797859"/>
            <a:ext cx="1807318" cy="870988"/>
          </a:xfrm>
          <a:custGeom>
            <a:avLst/>
            <a:gdLst>
              <a:gd name="connsiteX0" fmla="*/ 0 w 1807318"/>
              <a:gd name="connsiteY0" fmla="*/ 0 h 870988"/>
              <a:gd name="connsiteX1" fmla="*/ 1807318 w 1807318"/>
              <a:gd name="connsiteY1" fmla="*/ 0 h 870988"/>
              <a:gd name="connsiteX2" fmla="*/ 1807318 w 1807318"/>
              <a:gd name="connsiteY2" fmla="*/ 870988 h 870988"/>
              <a:gd name="connsiteX3" fmla="*/ 0 w 1807318"/>
              <a:gd name="connsiteY3" fmla="*/ 870988 h 870988"/>
              <a:gd name="connsiteX4" fmla="*/ 0 w 1807318"/>
              <a:gd name="connsiteY4" fmla="*/ 0 h 87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7318" h="870988">
                <a:moveTo>
                  <a:pt x="0" y="0"/>
                </a:moveTo>
                <a:lnTo>
                  <a:pt x="1807318" y="0"/>
                </a:lnTo>
                <a:lnTo>
                  <a:pt x="1807318" y="870988"/>
                </a:lnTo>
                <a:lnTo>
                  <a:pt x="0" y="87098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0800" tIns="-1" rIns="0" bIns="0" numCol="1" spcCol="1270" anchor="ctr" anchorCtr="0">
            <a:noAutofit/>
          </a:bodyPr>
          <a:lstStyle/>
          <a:p>
            <a:pPr marL="0" lvl="0" indent="0" algn="l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 kern="1200">
                <a:solidFill>
                  <a:schemeClr val="accent6"/>
                </a:solidFill>
                <a:latin typeface="NBS Light"/>
              </a:rPr>
              <a:t>Formal project methodology</a:t>
            </a:r>
          </a:p>
        </p:txBody>
      </p:sp>
      <p:sp>
        <p:nvSpPr>
          <p:cNvPr id="2053" name="Oval 2052">
            <a:extLst>
              <a:ext uri="{FF2B5EF4-FFF2-40B4-BE49-F238E27FC236}">
                <a16:creationId xmlns:a16="http://schemas.microsoft.com/office/drawing/2014/main" id="{9FC58479-D285-48DE-8FF2-BF630E350D97}"/>
              </a:ext>
            </a:extLst>
          </p:cNvPr>
          <p:cNvSpPr/>
          <p:nvPr/>
        </p:nvSpPr>
        <p:spPr>
          <a:xfrm>
            <a:off x="2046514" y="3332667"/>
            <a:ext cx="754649" cy="754649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54" name="Freeform: Shape 2053">
            <a:extLst>
              <a:ext uri="{FF2B5EF4-FFF2-40B4-BE49-F238E27FC236}">
                <a16:creationId xmlns:a16="http://schemas.microsoft.com/office/drawing/2014/main" id="{5D158A86-8ABC-41B6-940A-C80779B43BD3}"/>
              </a:ext>
            </a:extLst>
          </p:cNvPr>
          <p:cNvSpPr/>
          <p:nvPr/>
        </p:nvSpPr>
        <p:spPr>
          <a:xfrm rot="17700000">
            <a:off x="1152735" y="4383019"/>
            <a:ext cx="1563415" cy="753820"/>
          </a:xfrm>
          <a:custGeom>
            <a:avLst/>
            <a:gdLst>
              <a:gd name="connsiteX0" fmla="*/ 0 w 1563415"/>
              <a:gd name="connsiteY0" fmla="*/ 0 h 753820"/>
              <a:gd name="connsiteX1" fmla="*/ 1563415 w 1563415"/>
              <a:gd name="connsiteY1" fmla="*/ 0 h 753820"/>
              <a:gd name="connsiteX2" fmla="*/ 1563415 w 1563415"/>
              <a:gd name="connsiteY2" fmla="*/ 753820 h 753820"/>
              <a:gd name="connsiteX3" fmla="*/ 0 w 1563415"/>
              <a:gd name="connsiteY3" fmla="*/ 753820 h 753820"/>
              <a:gd name="connsiteX4" fmla="*/ 0 w 1563415"/>
              <a:gd name="connsiteY4" fmla="*/ 0 h 753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63415" h="753820">
                <a:moveTo>
                  <a:pt x="0" y="0"/>
                </a:moveTo>
                <a:lnTo>
                  <a:pt x="1563415" y="0"/>
                </a:lnTo>
                <a:lnTo>
                  <a:pt x="1563415" y="753820"/>
                </a:lnTo>
                <a:lnTo>
                  <a:pt x="0" y="75382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-1" tIns="0" rIns="50800" bIns="-1" numCol="1" spcCol="1270" anchor="ctr" anchorCtr="0">
            <a:noAutofit/>
          </a:bodyPr>
          <a:lstStyle/>
          <a:p>
            <a:pPr marL="0" lvl="0" indent="0" algn="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 kern="1200">
                <a:solidFill>
                  <a:schemeClr val="accent6"/>
                </a:solidFill>
                <a:latin typeface="NBS Light"/>
              </a:rPr>
              <a:t>Early Agile Successes</a:t>
            </a:r>
          </a:p>
        </p:txBody>
      </p:sp>
      <p:sp>
        <p:nvSpPr>
          <p:cNvPr id="2055" name="Rectangle 2054">
            <a:extLst>
              <a:ext uri="{FF2B5EF4-FFF2-40B4-BE49-F238E27FC236}">
                <a16:creationId xmlns:a16="http://schemas.microsoft.com/office/drawing/2014/main" id="{320F5F53-2E05-4E85-AB92-18786B832E6F}"/>
              </a:ext>
            </a:extLst>
          </p:cNvPr>
          <p:cNvSpPr/>
          <p:nvPr/>
        </p:nvSpPr>
        <p:spPr>
          <a:xfrm rot="17700000">
            <a:off x="2131526" y="2283143"/>
            <a:ext cx="1563415" cy="75382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60" name="Rectangle 2059">
            <a:extLst>
              <a:ext uri="{FF2B5EF4-FFF2-40B4-BE49-F238E27FC236}">
                <a16:creationId xmlns:a16="http://schemas.microsoft.com/office/drawing/2014/main" id="{516AB212-0FC3-4922-A97C-75E23BE6B993}"/>
              </a:ext>
            </a:extLst>
          </p:cNvPr>
          <p:cNvSpPr/>
          <p:nvPr/>
        </p:nvSpPr>
        <p:spPr>
          <a:xfrm rot="17700000">
            <a:off x="4559064" y="2283143"/>
            <a:ext cx="1563415" cy="75382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63" name="Rectangle 2062">
            <a:extLst>
              <a:ext uri="{FF2B5EF4-FFF2-40B4-BE49-F238E27FC236}">
                <a16:creationId xmlns:a16="http://schemas.microsoft.com/office/drawing/2014/main" id="{C65B248E-4BB8-4F26-88CF-3EC09DF1A7FB}"/>
              </a:ext>
            </a:extLst>
          </p:cNvPr>
          <p:cNvSpPr/>
          <p:nvPr/>
        </p:nvSpPr>
        <p:spPr>
          <a:xfrm rot="17700000">
            <a:off x="5423107" y="2283143"/>
            <a:ext cx="1563415" cy="75382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66" name="Rectangle 2065">
            <a:extLst>
              <a:ext uri="{FF2B5EF4-FFF2-40B4-BE49-F238E27FC236}">
                <a16:creationId xmlns:a16="http://schemas.microsoft.com/office/drawing/2014/main" id="{87786571-9280-492B-8C12-BA1578750C2E}"/>
              </a:ext>
            </a:extLst>
          </p:cNvPr>
          <p:cNvSpPr/>
          <p:nvPr/>
        </p:nvSpPr>
        <p:spPr>
          <a:xfrm rot="17700000">
            <a:off x="6287151" y="2283143"/>
            <a:ext cx="1563415" cy="75382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69" name="Rectangle 2068">
            <a:extLst>
              <a:ext uri="{FF2B5EF4-FFF2-40B4-BE49-F238E27FC236}">
                <a16:creationId xmlns:a16="http://schemas.microsoft.com/office/drawing/2014/main" id="{A62A5F53-0DB3-422A-B85D-525A2594E889}"/>
              </a:ext>
            </a:extLst>
          </p:cNvPr>
          <p:cNvSpPr/>
          <p:nvPr/>
        </p:nvSpPr>
        <p:spPr>
          <a:xfrm rot="17700000">
            <a:off x="7151195" y="2283143"/>
            <a:ext cx="1563415" cy="75382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89DD3EA0-6D5A-48ED-8166-F337EB582A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633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 knew several years ago that we needed to make changes…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A5550D4-92FB-4476-9DBD-9F164FC21068}"/>
              </a:ext>
            </a:extLst>
          </p:cNvPr>
          <p:cNvCxnSpPr/>
          <p:nvPr/>
        </p:nvCxnSpPr>
        <p:spPr>
          <a:xfrm>
            <a:off x="4009781" y="5600700"/>
            <a:ext cx="2629764" cy="0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8EB495A4-75F5-4BAE-A68E-E241578CF4F0}"/>
              </a:ext>
            </a:extLst>
          </p:cNvPr>
          <p:cNvSpPr txBox="1"/>
          <p:nvPr/>
        </p:nvSpPr>
        <p:spPr>
          <a:xfrm>
            <a:off x="6694963" y="5342792"/>
            <a:ext cx="914400" cy="914400"/>
          </a:xfrm>
          <a:prstGeom prst="rect">
            <a:avLst/>
          </a:prstGeom>
          <a:noFill/>
          <a:ln w="76200">
            <a:noFill/>
          </a:ln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GB" sz="3200" b="1">
                <a:solidFill>
                  <a:schemeClr val="accent6"/>
                </a:solidFill>
                <a:latin typeface="NBS Light" pitchFamily="2" charset="0"/>
              </a:rPr>
              <a:t>Tim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CEB0022-78ED-4991-BF2B-EA0A0E617B4B}"/>
              </a:ext>
            </a:extLst>
          </p:cNvPr>
          <p:cNvGrpSpPr/>
          <p:nvPr/>
        </p:nvGrpSpPr>
        <p:grpSpPr>
          <a:xfrm>
            <a:off x="480000" y="719666"/>
            <a:ext cx="8128000" cy="5418667"/>
            <a:chOff x="480000" y="719666"/>
            <a:chExt cx="8128000" cy="5418667"/>
          </a:xfrm>
        </p:grpSpPr>
        <p:sp>
          <p:nvSpPr>
            <p:cNvPr id="2048" name="Rectangle 2047">
              <a:extLst>
                <a:ext uri="{FF2B5EF4-FFF2-40B4-BE49-F238E27FC236}">
                  <a16:creationId xmlns:a16="http://schemas.microsoft.com/office/drawing/2014/main" id="{BBCCD6A7-BA8E-4C65-B8C8-739D4C3740BD}"/>
                </a:ext>
              </a:extLst>
            </p:cNvPr>
            <p:cNvSpPr/>
            <p:nvPr/>
          </p:nvSpPr>
          <p:spPr>
            <a:xfrm>
              <a:off x="480000" y="719666"/>
              <a:ext cx="8128000" cy="5418667"/>
            </a:xfrm>
            <a:prstGeom prst="rect">
              <a:avLst/>
            </a:prstGeom>
            <a:ln>
              <a:noFill/>
            </a:ln>
          </p:spPr>
        </p:sp>
        <p:sp>
          <p:nvSpPr>
            <p:cNvPr id="2049" name="Circle: Hollow 2048">
              <a:extLst>
                <a:ext uri="{FF2B5EF4-FFF2-40B4-BE49-F238E27FC236}">
                  <a16:creationId xmlns:a16="http://schemas.microsoft.com/office/drawing/2014/main" id="{DFB30F04-6615-4DE7-B826-2B45B749B8AD}"/>
                </a:ext>
              </a:extLst>
            </p:cNvPr>
            <p:cNvSpPr/>
            <p:nvPr/>
          </p:nvSpPr>
          <p:spPr>
            <a:xfrm>
              <a:off x="483136" y="2983058"/>
              <a:ext cx="1453867" cy="1453867"/>
            </a:xfrm>
            <a:prstGeom prst="donut">
              <a:avLst>
                <a:gd name="adj" fmla="val 2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51" name="Freeform: Shape 2050">
              <a:extLst>
                <a:ext uri="{FF2B5EF4-FFF2-40B4-BE49-F238E27FC236}">
                  <a16:creationId xmlns:a16="http://schemas.microsoft.com/office/drawing/2014/main" id="{05A22EE3-129F-41A7-8600-E4D61A6BCAF8}"/>
                </a:ext>
              </a:extLst>
            </p:cNvPr>
            <p:cNvSpPr/>
            <p:nvPr/>
          </p:nvSpPr>
          <p:spPr>
            <a:xfrm rot="17700000">
              <a:off x="995413" y="1797859"/>
              <a:ext cx="1807318" cy="870988"/>
            </a:xfrm>
            <a:custGeom>
              <a:avLst/>
              <a:gdLst>
                <a:gd name="connsiteX0" fmla="*/ 0 w 1807318"/>
                <a:gd name="connsiteY0" fmla="*/ 0 h 870988"/>
                <a:gd name="connsiteX1" fmla="*/ 1807318 w 1807318"/>
                <a:gd name="connsiteY1" fmla="*/ 0 h 870988"/>
                <a:gd name="connsiteX2" fmla="*/ 1807318 w 1807318"/>
                <a:gd name="connsiteY2" fmla="*/ 870988 h 870988"/>
                <a:gd name="connsiteX3" fmla="*/ 0 w 1807318"/>
                <a:gd name="connsiteY3" fmla="*/ 870988 h 870988"/>
                <a:gd name="connsiteX4" fmla="*/ 0 w 1807318"/>
                <a:gd name="connsiteY4" fmla="*/ 0 h 87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7318" h="870988">
                  <a:moveTo>
                    <a:pt x="0" y="0"/>
                  </a:moveTo>
                  <a:lnTo>
                    <a:pt x="1807318" y="0"/>
                  </a:lnTo>
                  <a:lnTo>
                    <a:pt x="1807318" y="870988"/>
                  </a:lnTo>
                  <a:lnTo>
                    <a:pt x="0" y="87098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0800" tIns="-1" rIns="0" bIns="0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kern="1200">
                  <a:solidFill>
                    <a:schemeClr val="accent6"/>
                  </a:solidFill>
                  <a:latin typeface="NBS Light"/>
                </a:rPr>
                <a:t>Formal project methodology</a:t>
              </a:r>
            </a:p>
          </p:txBody>
        </p:sp>
        <p:sp>
          <p:nvSpPr>
            <p:cNvPr id="2053" name="Oval 2052">
              <a:extLst>
                <a:ext uri="{FF2B5EF4-FFF2-40B4-BE49-F238E27FC236}">
                  <a16:creationId xmlns:a16="http://schemas.microsoft.com/office/drawing/2014/main" id="{9FC58479-D285-48DE-8FF2-BF630E350D97}"/>
                </a:ext>
              </a:extLst>
            </p:cNvPr>
            <p:cNvSpPr/>
            <p:nvPr/>
          </p:nvSpPr>
          <p:spPr>
            <a:xfrm>
              <a:off x="2046514" y="3332667"/>
              <a:ext cx="754649" cy="754649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54" name="Freeform: Shape 2053">
              <a:extLst>
                <a:ext uri="{FF2B5EF4-FFF2-40B4-BE49-F238E27FC236}">
                  <a16:creationId xmlns:a16="http://schemas.microsoft.com/office/drawing/2014/main" id="{5D158A86-8ABC-41B6-940A-C80779B43BD3}"/>
                </a:ext>
              </a:extLst>
            </p:cNvPr>
            <p:cNvSpPr/>
            <p:nvPr/>
          </p:nvSpPr>
          <p:spPr>
            <a:xfrm rot="17700000">
              <a:off x="1152735" y="4383019"/>
              <a:ext cx="1563415" cy="753820"/>
            </a:xfrm>
            <a:custGeom>
              <a:avLst/>
              <a:gdLst>
                <a:gd name="connsiteX0" fmla="*/ 0 w 1563415"/>
                <a:gd name="connsiteY0" fmla="*/ 0 h 753820"/>
                <a:gd name="connsiteX1" fmla="*/ 1563415 w 1563415"/>
                <a:gd name="connsiteY1" fmla="*/ 0 h 753820"/>
                <a:gd name="connsiteX2" fmla="*/ 1563415 w 1563415"/>
                <a:gd name="connsiteY2" fmla="*/ 753820 h 753820"/>
                <a:gd name="connsiteX3" fmla="*/ 0 w 1563415"/>
                <a:gd name="connsiteY3" fmla="*/ 753820 h 753820"/>
                <a:gd name="connsiteX4" fmla="*/ 0 w 1563415"/>
                <a:gd name="connsiteY4" fmla="*/ 0 h 75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3415" h="753820">
                  <a:moveTo>
                    <a:pt x="0" y="0"/>
                  </a:moveTo>
                  <a:lnTo>
                    <a:pt x="1563415" y="0"/>
                  </a:lnTo>
                  <a:lnTo>
                    <a:pt x="1563415" y="753820"/>
                  </a:lnTo>
                  <a:lnTo>
                    <a:pt x="0" y="7538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-1" tIns="0" rIns="50800" bIns="-1" numCol="1" spcCol="1270" anchor="ctr" anchorCtr="0">
              <a:noAutofit/>
            </a:bodyPr>
            <a:lstStyle/>
            <a:p>
              <a:pPr marL="0" lvl="0" indent="0" algn="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kern="1200">
                  <a:solidFill>
                    <a:schemeClr val="accent6"/>
                  </a:solidFill>
                  <a:latin typeface="NBS Light"/>
                </a:rPr>
                <a:t>Early Agile Successes</a:t>
              </a:r>
            </a:p>
          </p:txBody>
        </p:sp>
        <p:sp>
          <p:nvSpPr>
            <p:cNvPr id="2055" name="Rectangle 2054">
              <a:extLst>
                <a:ext uri="{FF2B5EF4-FFF2-40B4-BE49-F238E27FC236}">
                  <a16:creationId xmlns:a16="http://schemas.microsoft.com/office/drawing/2014/main" id="{320F5F53-2E05-4E85-AB92-18786B832E6F}"/>
                </a:ext>
              </a:extLst>
            </p:cNvPr>
            <p:cNvSpPr/>
            <p:nvPr/>
          </p:nvSpPr>
          <p:spPr>
            <a:xfrm rot="17700000">
              <a:off x="2131526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56" name="Circle: Hollow 2055">
              <a:extLst>
                <a:ext uri="{FF2B5EF4-FFF2-40B4-BE49-F238E27FC236}">
                  <a16:creationId xmlns:a16="http://schemas.microsoft.com/office/drawing/2014/main" id="{E87A1957-3D13-43BB-9D3A-CE9C29A5B5E7}"/>
                </a:ext>
              </a:extLst>
            </p:cNvPr>
            <p:cNvSpPr/>
            <p:nvPr/>
          </p:nvSpPr>
          <p:spPr>
            <a:xfrm>
              <a:off x="2910673" y="2983058"/>
              <a:ext cx="1453867" cy="1453867"/>
            </a:xfrm>
            <a:prstGeom prst="donut">
              <a:avLst>
                <a:gd name="adj" fmla="val 20000"/>
              </a:avLst>
            </a:prstGeom>
            <a:solidFill>
              <a:srgbClr val="92D05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57" name="Freeform: Shape 2056">
              <a:extLst>
                <a:ext uri="{FF2B5EF4-FFF2-40B4-BE49-F238E27FC236}">
                  <a16:creationId xmlns:a16="http://schemas.microsoft.com/office/drawing/2014/main" id="{83197EEA-7E69-4DC3-AF22-7D73232A0E6C}"/>
                </a:ext>
              </a:extLst>
            </p:cNvPr>
            <p:cNvSpPr/>
            <p:nvPr/>
          </p:nvSpPr>
          <p:spPr>
            <a:xfrm rot="17700000">
              <a:off x="3422951" y="1797859"/>
              <a:ext cx="1807318" cy="870988"/>
            </a:xfrm>
            <a:custGeom>
              <a:avLst/>
              <a:gdLst>
                <a:gd name="connsiteX0" fmla="*/ 0 w 1807318"/>
                <a:gd name="connsiteY0" fmla="*/ 0 h 870988"/>
                <a:gd name="connsiteX1" fmla="*/ 1807318 w 1807318"/>
                <a:gd name="connsiteY1" fmla="*/ 0 h 870988"/>
                <a:gd name="connsiteX2" fmla="*/ 1807318 w 1807318"/>
                <a:gd name="connsiteY2" fmla="*/ 870988 h 870988"/>
                <a:gd name="connsiteX3" fmla="*/ 0 w 1807318"/>
                <a:gd name="connsiteY3" fmla="*/ 870988 h 870988"/>
                <a:gd name="connsiteX4" fmla="*/ 0 w 1807318"/>
                <a:gd name="connsiteY4" fmla="*/ 0 h 87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7318" h="870988">
                  <a:moveTo>
                    <a:pt x="0" y="0"/>
                  </a:moveTo>
                  <a:lnTo>
                    <a:pt x="1807318" y="0"/>
                  </a:lnTo>
                  <a:lnTo>
                    <a:pt x="1807318" y="870988"/>
                  </a:lnTo>
                  <a:lnTo>
                    <a:pt x="0" y="87098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0800" tIns="-1" rIns="0" bIns="0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kern="1200">
                  <a:solidFill>
                    <a:schemeClr val="accent6"/>
                  </a:solidFill>
                  <a:latin typeface="NBS Light"/>
                </a:rPr>
                <a:t>Adaptive Change Framework</a:t>
              </a:r>
            </a:p>
          </p:txBody>
        </p:sp>
        <p:sp>
          <p:nvSpPr>
            <p:cNvPr id="2060" name="Rectangle 2059">
              <a:extLst>
                <a:ext uri="{FF2B5EF4-FFF2-40B4-BE49-F238E27FC236}">
                  <a16:creationId xmlns:a16="http://schemas.microsoft.com/office/drawing/2014/main" id="{516AB212-0FC3-4922-A97C-75E23BE6B993}"/>
                </a:ext>
              </a:extLst>
            </p:cNvPr>
            <p:cNvSpPr/>
            <p:nvPr/>
          </p:nvSpPr>
          <p:spPr>
            <a:xfrm rot="17700000">
              <a:off x="4559064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63" name="Rectangle 2062">
              <a:extLst>
                <a:ext uri="{FF2B5EF4-FFF2-40B4-BE49-F238E27FC236}">
                  <a16:creationId xmlns:a16="http://schemas.microsoft.com/office/drawing/2014/main" id="{C65B248E-4BB8-4F26-88CF-3EC09DF1A7FB}"/>
                </a:ext>
              </a:extLst>
            </p:cNvPr>
            <p:cNvSpPr/>
            <p:nvPr/>
          </p:nvSpPr>
          <p:spPr>
            <a:xfrm rot="17700000">
              <a:off x="5423107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66" name="Rectangle 2065">
              <a:extLst>
                <a:ext uri="{FF2B5EF4-FFF2-40B4-BE49-F238E27FC236}">
                  <a16:creationId xmlns:a16="http://schemas.microsoft.com/office/drawing/2014/main" id="{87786571-9280-492B-8C12-BA1578750C2E}"/>
                </a:ext>
              </a:extLst>
            </p:cNvPr>
            <p:cNvSpPr/>
            <p:nvPr/>
          </p:nvSpPr>
          <p:spPr>
            <a:xfrm rot="17700000">
              <a:off x="6287151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A62A5F53-0DB3-422A-B85D-525A2594E889}"/>
                </a:ext>
              </a:extLst>
            </p:cNvPr>
            <p:cNvSpPr/>
            <p:nvPr/>
          </p:nvSpPr>
          <p:spPr>
            <a:xfrm rot="17700000">
              <a:off x="7151195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EB341051-6388-4102-B144-CCCBC4DE31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797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 knew several years ago that we needed to make changes…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44FD728-75E9-4BAF-8E84-F38EFB24CB8D}"/>
              </a:ext>
            </a:extLst>
          </p:cNvPr>
          <p:cNvGrpSpPr/>
          <p:nvPr/>
        </p:nvGrpSpPr>
        <p:grpSpPr>
          <a:xfrm rot="1024759">
            <a:off x="4442039" y="734109"/>
            <a:ext cx="3141386" cy="4708400"/>
            <a:chOff x="7973515" y="-40384"/>
            <a:chExt cx="4067175" cy="6096000"/>
          </a:xfrm>
        </p:grpSpPr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B485FA0C-5AA7-4FFB-8CE8-3BD686FB52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657146">
              <a:off x="7973515" y="-40384"/>
              <a:ext cx="4067175" cy="609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See the source image">
              <a:extLst>
                <a:ext uri="{FF2B5EF4-FFF2-40B4-BE49-F238E27FC236}">
                  <a16:creationId xmlns:a16="http://schemas.microsoft.com/office/drawing/2014/main" id="{74794E2B-CF3E-439F-9F1B-F919A3261E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3600000">
              <a:off x="9160794" y="2382054"/>
              <a:ext cx="398106" cy="591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B850BF3A-5BD0-4D3B-ACC9-37BA5144B9B5}"/>
              </a:ext>
            </a:extLst>
          </p:cNvPr>
          <p:cNvSpPr/>
          <p:nvPr/>
        </p:nvSpPr>
        <p:spPr>
          <a:xfrm>
            <a:off x="7738866" y="2365945"/>
            <a:ext cx="2710370" cy="181588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>
                <a:solidFill>
                  <a:schemeClr val="accent6"/>
                </a:solidFill>
                <a:latin typeface="NBS Light"/>
              </a:rPr>
              <a:t>…but throwing some wine out with the cork was not an option…</a:t>
            </a:r>
            <a:endParaRPr lang="en-GB" sz="2800">
              <a:solidFill>
                <a:schemeClr val="accent6"/>
              </a:solidFill>
              <a:latin typeface="NBS Light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A5550D4-92FB-4476-9DBD-9F164FC21068}"/>
              </a:ext>
            </a:extLst>
          </p:cNvPr>
          <p:cNvCxnSpPr/>
          <p:nvPr/>
        </p:nvCxnSpPr>
        <p:spPr>
          <a:xfrm>
            <a:off x="4009781" y="5600700"/>
            <a:ext cx="2629764" cy="0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8EB495A4-75F5-4BAE-A68E-E241578CF4F0}"/>
              </a:ext>
            </a:extLst>
          </p:cNvPr>
          <p:cNvSpPr txBox="1"/>
          <p:nvPr/>
        </p:nvSpPr>
        <p:spPr>
          <a:xfrm>
            <a:off x="6694963" y="5342792"/>
            <a:ext cx="914400" cy="914400"/>
          </a:xfrm>
          <a:prstGeom prst="rect">
            <a:avLst/>
          </a:prstGeom>
          <a:noFill/>
          <a:ln w="76200">
            <a:noFill/>
          </a:ln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GB" sz="3200" b="1">
                <a:solidFill>
                  <a:schemeClr val="accent6"/>
                </a:solidFill>
                <a:latin typeface="NBS Light" pitchFamily="2" charset="0"/>
              </a:rPr>
              <a:t>Tim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CEB0022-78ED-4991-BF2B-EA0A0E617B4B}"/>
              </a:ext>
            </a:extLst>
          </p:cNvPr>
          <p:cNvGrpSpPr/>
          <p:nvPr/>
        </p:nvGrpSpPr>
        <p:grpSpPr>
          <a:xfrm>
            <a:off x="480000" y="719666"/>
            <a:ext cx="8128000" cy="5418667"/>
            <a:chOff x="480000" y="719666"/>
            <a:chExt cx="8128000" cy="5418667"/>
          </a:xfrm>
        </p:grpSpPr>
        <p:sp>
          <p:nvSpPr>
            <p:cNvPr id="2048" name="Rectangle 2047">
              <a:extLst>
                <a:ext uri="{FF2B5EF4-FFF2-40B4-BE49-F238E27FC236}">
                  <a16:creationId xmlns:a16="http://schemas.microsoft.com/office/drawing/2014/main" id="{BBCCD6A7-BA8E-4C65-B8C8-739D4C3740BD}"/>
                </a:ext>
              </a:extLst>
            </p:cNvPr>
            <p:cNvSpPr/>
            <p:nvPr/>
          </p:nvSpPr>
          <p:spPr>
            <a:xfrm>
              <a:off x="480000" y="719666"/>
              <a:ext cx="8128000" cy="5418667"/>
            </a:xfrm>
            <a:prstGeom prst="rect">
              <a:avLst/>
            </a:prstGeom>
            <a:ln>
              <a:noFill/>
            </a:ln>
          </p:spPr>
        </p:sp>
        <p:sp>
          <p:nvSpPr>
            <p:cNvPr id="2049" name="Circle: Hollow 2048">
              <a:extLst>
                <a:ext uri="{FF2B5EF4-FFF2-40B4-BE49-F238E27FC236}">
                  <a16:creationId xmlns:a16="http://schemas.microsoft.com/office/drawing/2014/main" id="{DFB30F04-6615-4DE7-B826-2B45B749B8AD}"/>
                </a:ext>
              </a:extLst>
            </p:cNvPr>
            <p:cNvSpPr/>
            <p:nvPr/>
          </p:nvSpPr>
          <p:spPr>
            <a:xfrm>
              <a:off x="483136" y="2983058"/>
              <a:ext cx="1453867" cy="1453867"/>
            </a:xfrm>
            <a:prstGeom prst="donut">
              <a:avLst>
                <a:gd name="adj" fmla="val 2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51" name="Freeform: Shape 2050">
              <a:extLst>
                <a:ext uri="{FF2B5EF4-FFF2-40B4-BE49-F238E27FC236}">
                  <a16:creationId xmlns:a16="http://schemas.microsoft.com/office/drawing/2014/main" id="{05A22EE3-129F-41A7-8600-E4D61A6BCAF8}"/>
                </a:ext>
              </a:extLst>
            </p:cNvPr>
            <p:cNvSpPr/>
            <p:nvPr/>
          </p:nvSpPr>
          <p:spPr>
            <a:xfrm rot="17700000">
              <a:off x="995413" y="1797859"/>
              <a:ext cx="1807318" cy="870988"/>
            </a:xfrm>
            <a:custGeom>
              <a:avLst/>
              <a:gdLst>
                <a:gd name="connsiteX0" fmla="*/ 0 w 1807318"/>
                <a:gd name="connsiteY0" fmla="*/ 0 h 870988"/>
                <a:gd name="connsiteX1" fmla="*/ 1807318 w 1807318"/>
                <a:gd name="connsiteY1" fmla="*/ 0 h 870988"/>
                <a:gd name="connsiteX2" fmla="*/ 1807318 w 1807318"/>
                <a:gd name="connsiteY2" fmla="*/ 870988 h 870988"/>
                <a:gd name="connsiteX3" fmla="*/ 0 w 1807318"/>
                <a:gd name="connsiteY3" fmla="*/ 870988 h 870988"/>
                <a:gd name="connsiteX4" fmla="*/ 0 w 1807318"/>
                <a:gd name="connsiteY4" fmla="*/ 0 h 87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7318" h="870988">
                  <a:moveTo>
                    <a:pt x="0" y="0"/>
                  </a:moveTo>
                  <a:lnTo>
                    <a:pt x="1807318" y="0"/>
                  </a:lnTo>
                  <a:lnTo>
                    <a:pt x="1807318" y="870988"/>
                  </a:lnTo>
                  <a:lnTo>
                    <a:pt x="0" y="87098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0800" tIns="-1" rIns="0" bIns="0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kern="1200">
                  <a:solidFill>
                    <a:schemeClr val="accent6"/>
                  </a:solidFill>
                  <a:latin typeface="NBS Light"/>
                </a:rPr>
                <a:t>Formal project methodology</a:t>
              </a:r>
            </a:p>
          </p:txBody>
        </p:sp>
        <p:sp>
          <p:nvSpPr>
            <p:cNvPr id="2053" name="Oval 2052">
              <a:extLst>
                <a:ext uri="{FF2B5EF4-FFF2-40B4-BE49-F238E27FC236}">
                  <a16:creationId xmlns:a16="http://schemas.microsoft.com/office/drawing/2014/main" id="{9FC58479-D285-48DE-8FF2-BF630E350D97}"/>
                </a:ext>
              </a:extLst>
            </p:cNvPr>
            <p:cNvSpPr/>
            <p:nvPr/>
          </p:nvSpPr>
          <p:spPr>
            <a:xfrm>
              <a:off x="2046514" y="3332667"/>
              <a:ext cx="754649" cy="754649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54" name="Freeform: Shape 2053">
              <a:extLst>
                <a:ext uri="{FF2B5EF4-FFF2-40B4-BE49-F238E27FC236}">
                  <a16:creationId xmlns:a16="http://schemas.microsoft.com/office/drawing/2014/main" id="{5D158A86-8ABC-41B6-940A-C80779B43BD3}"/>
                </a:ext>
              </a:extLst>
            </p:cNvPr>
            <p:cNvSpPr/>
            <p:nvPr/>
          </p:nvSpPr>
          <p:spPr>
            <a:xfrm rot="17700000">
              <a:off x="1152735" y="4383019"/>
              <a:ext cx="1563415" cy="753820"/>
            </a:xfrm>
            <a:custGeom>
              <a:avLst/>
              <a:gdLst>
                <a:gd name="connsiteX0" fmla="*/ 0 w 1563415"/>
                <a:gd name="connsiteY0" fmla="*/ 0 h 753820"/>
                <a:gd name="connsiteX1" fmla="*/ 1563415 w 1563415"/>
                <a:gd name="connsiteY1" fmla="*/ 0 h 753820"/>
                <a:gd name="connsiteX2" fmla="*/ 1563415 w 1563415"/>
                <a:gd name="connsiteY2" fmla="*/ 753820 h 753820"/>
                <a:gd name="connsiteX3" fmla="*/ 0 w 1563415"/>
                <a:gd name="connsiteY3" fmla="*/ 753820 h 753820"/>
                <a:gd name="connsiteX4" fmla="*/ 0 w 1563415"/>
                <a:gd name="connsiteY4" fmla="*/ 0 h 75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3415" h="753820">
                  <a:moveTo>
                    <a:pt x="0" y="0"/>
                  </a:moveTo>
                  <a:lnTo>
                    <a:pt x="1563415" y="0"/>
                  </a:lnTo>
                  <a:lnTo>
                    <a:pt x="1563415" y="753820"/>
                  </a:lnTo>
                  <a:lnTo>
                    <a:pt x="0" y="7538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-1" tIns="0" rIns="50800" bIns="-1" numCol="1" spcCol="1270" anchor="ctr" anchorCtr="0">
              <a:noAutofit/>
            </a:bodyPr>
            <a:lstStyle/>
            <a:p>
              <a:pPr marL="0" lvl="0" indent="0" algn="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kern="1200">
                  <a:solidFill>
                    <a:schemeClr val="accent6"/>
                  </a:solidFill>
                  <a:latin typeface="NBS Light"/>
                </a:rPr>
                <a:t>Early Agile Successes</a:t>
              </a:r>
            </a:p>
          </p:txBody>
        </p:sp>
        <p:sp>
          <p:nvSpPr>
            <p:cNvPr id="2055" name="Rectangle 2054">
              <a:extLst>
                <a:ext uri="{FF2B5EF4-FFF2-40B4-BE49-F238E27FC236}">
                  <a16:creationId xmlns:a16="http://schemas.microsoft.com/office/drawing/2014/main" id="{320F5F53-2E05-4E85-AB92-18786B832E6F}"/>
                </a:ext>
              </a:extLst>
            </p:cNvPr>
            <p:cNvSpPr/>
            <p:nvPr/>
          </p:nvSpPr>
          <p:spPr>
            <a:xfrm rot="17700000">
              <a:off x="2131526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56" name="Circle: Hollow 2055">
              <a:extLst>
                <a:ext uri="{FF2B5EF4-FFF2-40B4-BE49-F238E27FC236}">
                  <a16:creationId xmlns:a16="http://schemas.microsoft.com/office/drawing/2014/main" id="{E87A1957-3D13-43BB-9D3A-CE9C29A5B5E7}"/>
                </a:ext>
              </a:extLst>
            </p:cNvPr>
            <p:cNvSpPr/>
            <p:nvPr/>
          </p:nvSpPr>
          <p:spPr>
            <a:xfrm>
              <a:off x="2910673" y="2983058"/>
              <a:ext cx="1453867" cy="1453867"/>
            </a:xfrm>
            <a:prstGeom prst="donut">
              <a:avLst>
                <a:gd name="adj" fmla="val 20000"/>
              </a:avLst>
            </a:prstGeom>
            <a:solidFill>
              <a:srgbClr val="92D05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57" name="Freeform: Shape 2056">
              <a:extLst>
                <a:ext uri="{FF2B5EF4-FFF2-40B4-BE49-F238E27FC236}">
                  <a16:creationId xmlns:a16="http://schemas.microsoft.com/office/drawing/2014/main" id="{83197EEA-7E69-4DC3-AF22-7D73232A0E6C}"/>
                </a:ext>
              </a:extLst>
            </p:cNvPr>
            <p:cNvSpPr/>
            <p:nvPr/>
          </p:nvSpPr>
          <p:spPr>
            <a:xfrm rot="17700000">
              <a:off x="3422951" y="1797859"/>
              <a:ext cx="1807318" cy="870988"/>
            </a:xfrm>
            <a:custGeom>
              <a:avLst/>
              <a:gdLst>
                <a:gd name="connsiteX0" fmla="*/ 0 w 1807318"/>
                <a:gd name="connsiteY0" fmla="*/ 0 h 870988"/>
                <a:gd name="connsiteX1" fmla="*/ 1807318 w 1807318"/>
                <a:gd name="connsiteY1" fmla="*/ 0 h 870988"/>
                <a:gd name="connsiteX2" fmla="*/ 1807318 w 1807318"/>
                <a:gd name="connsiteY2" fmla="*/ 870988 h 870988"/>
                <a:gd name="connsiteX3" fmla="*/ 0 w 1807318"/>
                <a:gd name="connsiteY3" fmla="*/ 870988 h 870988"/>
                <a:gd name="connsiteX4" fmla="*/ 0 w 1807318"/>
                <a:gd name="connsiteY4" fmla="*/ 0 h 87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7318" h="870988">
                  <a:moveTo>
                    <a:pt x="0" y="0"/>
                  </a:moveTo>
                  <a:lnTo>
                    <a:pt x="1807318" y="0"/>
                  </a:lnTo>
                  <a:lnTo>
                    <a:pt x="1807318" y="870988"/>
                  </a:lnTo>
                  <a:lnTo>
                    <a:pt x="0" y="87098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0800" tIns="-1" rIns="0" bIns="0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kern="1200">
                  <a:solidFill>
                    <a:schemeClr val="accent6"/>
                  </a:solidFill>
                  <a:latin typeface="NBS Light"/>
                </a:rPr>
                <a:t>Adaptive Change Framework</a:t>
              </a:r>
            </a:p>
          </p:txBody>
        </p:sp>
        <p:sp>
          <p:nvSpPr>
            <p:cNvPr id="2060" name="Rectangle 2059">
              <a:extLst>
                <a:ext uri="{FF2B5EF4-FFF2-40B4-BE49-F238E27FC236}">
                  <a16:creationId xmlns:a16="http://schemas.microsoft.com/office/drawing/2014/main" id="{516AB212-0FC3-4922-A97C-75E23BE6B993}"/>
                </a:ext>
              </a:extLst>
            </p:cNvPr>
            <p:cNvSpPr/>
            <p:nvPr/>
          </p:nvSpPr>
          <p:spPr>
            <a:xfrm rot="17700000">
              <a:off x="4559064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63" name="Rectangle 2062">
              <a:extLst>
                <a:ext uri="{FF2B5EF4-FFF2-40B4-BE49-F238E27FC236}">
                  <a16:creationId xmlns:a16="http://schemas.microsoft.com/office/drawing/2014/main" id="{C65B248E-4BB8-4F26-88CF-3EC09DF1A7FB}"/>
                </a:ext>
              </a:extLst>
            </p:cNvPr>
            <p:cNvSpPr/>
            <p:nvPr/>
          </p:nvSpPr>
          <p:spPr>
            <a:xfrm rot="17700000">
              <a:off x="5423107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66" name="Rectangle 2065">
              <a:extLst>
                <a:ext uri="{FF2B5EF4-FFF2-40B4-BE49-F238E27FC236}">
                  <a16:creationId xmlns:a16="http://schemas.microsoft.com/office/drawing/2014/main" id="{87786571-9280-492B-8C12-BA1578750C2E}"/>
                </a:ext>
              </a:extLst>
            </p:cNvPr>
            <p:cNvSpPr/>
            <p:nvPr/>
          </p:nvSpPr>
          <p:spPr>
            <a:xfrm rot="17700000">
              <a:off x="6287151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A62A5F53-0DB3-422A-B85D-525A2594E889}"/>
                </a:ext>
              </a:extLst>
            </p:cNvPr>
            <p:cNvSpPr/>
            <p:nvPr/>
          </p:nvSpPr>
          <p:spPr>
            <a:xfrm rot="17700000">
              <a:off x="7151195" y="2283143"/>
              <a:ext cx="1563415" cy="7538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F52FF043-0B3D-41F1-B69B-58778AB326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5774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 tight controls persisted and even multiplied to fill a perceived vo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55E91D3-9842-4E25-8065-436D886D7F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0942016"/>
              </p:ext>
            </p:extLst>
          </p:nvPr>
        </p:nvGraphicFramePr>
        <p:xfrm>
          <a:off x="480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F0C786B-D47E-47F9-BEC0-5DF58F32ADD7}"/>
              </a:ext>
            </a:extLst>
          </p:cNvPr>
          <p:cNvCxnSpPr/>
          <p:nvPr/>
        </p:nvCxnSpPr>
        <p:spPr>
          <a:xfrm>
            <a:off x="4009781" y="5600700"/>
            <a:ext cx="2629764" cy="0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4C0819A-D4C0-4B35-89E8-D02B69453111}"/>
              </a:ext>
            </a:extLst>
          </p:cNvPr>
          <p:cNvSpPr txBox="1"/>
          <p:nvPr/>
        </p:nvSpPr>
        <p:spPr>
          <a:xfrm>
            <a:off x="6694963" y="5342792"/>
            <a:ext cx="914400" cy="914400"/>
          </a:xfrm>
          <a:prstGeom prst="rect">
            <a:avLst/>
          </a:prstGeom>
          <a:noFill/>
          <a:ln w="76200">
            <a:noFill/>
          </a:ln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GB" sz="3200" b="1">
                <a:solidFill>
                  <a:schemeClr val="accent6"/>
                </a:solidFill>
                <a:latin typeface="NBS Light" pitchFamily="2" charset="0"/>
              </a:rPr>
              <a:t>Ti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FE8CD9-A114-4DAD-9528-3778105E56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1339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ter “Intelligent Control”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55E91D3-9842-4E25-8065-436D886D7F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502638"/>
              </p:ext>
            </p:extLst>
          </p:nvPr>
        </p:nvGraphicFramePr>
        <p:xfrm>
          <a:off x="-5738965" y="-1921644"/>
          <a:ext cx="16292665" cy="108617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65160C0-E9C4-4CB3-BA36-76CFC0CC9A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34526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AC452-D2F5-4BFC-9924-82C0F3AC4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NBS Medium"/>
              </a:rPr>
              <a:t>What are Controls and Why do we need them? </a:t>
            </a:r>
            <a:endParaRPr lang="en-US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11E4167C-3D31-4FEB-9D57-176347E0D2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0377301"/>
              </p:ext>
            </p:extLst>
          </p:nvPr>
        </p:nvGraphicFramePr>
        <p:xfrm>
          <a:off x="5478449" y="1256130"/>
          <a:ext cx="6684335" cy="49517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779F136-FCA5-4706-91C2-489DFF50EC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239631"/>
            <a:ext cx="4921343" cy="4951793"/>
          </a:xfrm>
        </p:spPr>
        <p:txBody>
          <a:bodyPr vert="horz" lIns="0" tIns="0" rIns="0" bIns="0" rtlCol="0" anchor="t"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185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Must do’s and should do’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Architected to enabling accuracy, consistency, repeatability, traceability, transparency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Supporting traceability for those accountab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8A89AD-137A-4BBB-AB9D-DA16361D42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0280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7198C78-5D82-4080-B56E-25CD4CB4C972}"/>
              </a:ext>
            </a:extLst>
          </p:cNvPr>
          <p:cNvSpPr txBox="1"/>
          <p:nvPr/>
        </p:nvSpPr>
        <p:spPr>
          <a:xfrm>
            <a:off x="703339" y="1258769"/>
            <a:ext cx="5452110" cy="3459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50" b="1" dirty="0">
                <a:solidFill>
                  <a:schemeClr val="bg2"/>
                </a:solidFill>
                <a:latin typeface="NBS Light"/>
              </a:rPr>
              <a:t>Building the Right Thing and Building It Right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06098622-76B7-4EBD-BA47-8A6A41C11201}"/>
              </a:ext>
            </a:extLst>
          </p:cNvPr>
          <p:cNvSpPr/>
          <p:nvPr/>
        </p:nvSpPr>
        <p:spPr>
          <a:xfrm>
            <a:off x="1519437" y="3140244"/>
            <a:ext cx="575489" cy="55477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BS Light" panose="020B0303030303020204" pitchFamily="34" charset="0"/>
                <a:ea typeface="+mn-ea"/>
                <a:cs typeface="+mn-cs"/>
              </a:rPr>
              <a:t>OKR</a:t>
            </a:r>
          </a:p>
        </p:txBody>
      </p:sp>
      <p:pic>
        <p:nvPicPr>
          <p:cNvPr id="64" name="Graphic 94" descr="Line arrow Straight">
            <a:extLst>
              <a:ext uri="{FF2B5EF4-FFF2-40B4-BE49-F238E27FC236}">
                <a16:creationId xmlns:a16="http://schemas.microsoft.com/office/drawing/2014/main" id="{EBA5357D-8E50-41D1-8D98-7334F36789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2194319" y="3129805"/>
            <a:ext cx="605297" cy="599148"/>
          </a:xfrm>
          <a:prstGeom prst="rect">
            <a:avLst/>
          </a:prstGeom>
        </p:spPr>
      </p:pic>
      <p:pic>
        <p:nvPicPr>
          <p:cNvPr id="65" name="Graphic 36" descr="Monitor">
            <a:extLst>
              <a:ext uri="{FF2B5EF4-FFF2-40B4-BE49-F238E27FC236}">
                <a16:creationId xmlns:a16="http://schemas.microsoft.com/office/drawing/2014/main" id="{719F7178-76E3-4527-BCBB-B96D0550B9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23852" y="2940636"/>
            <a:ext cx="977486" cy="977486"/>
          </a:xfrm>
          <a:prstGeom prst="rect">
            <a:avLst/>
          </a:prstGeom>
        </p:spPr>
      </p:pic>
      <p:sp>
        <p:nvSpPr>
          <p:cNvPr id="70" name="TextBox 45">
            <a:extLst>
              <a:ext uri="{FF2B5EF4-FFF2-40B4-BE49-F238E27FC236}">
                <a16:creationId xmlns:a16="http://schemas.microsoft.com/office/drawing/2014/main" id="{A73E7631-6E87-4AE6-A7BD-6A2EAC05FD6F}"/>
              </a:ext>
            </a:extLst>
          </p:cNvPr>
          <p:cNvSpPr txBox="1"/>
          <p:nvPr/>
        </p:nvSpPr>
        <p:spPr>
          <a:xfrm>
            <a:off x="2859202" y="3166086"/>
            <a:ext cx="8932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Light" panose="020B0303030303020204" pitchFamily="34" charset="0"/>
                <a:ea typeface="+mn-ea"/>
                <a:cs typeface="+mn-cs"/>
              </a:rPr>
              <a:t>Unified Risk Assessment</a:t>
            </a:r>
          </a:p>
        </p:txBody>
      </p:sp>
      <p:pic>
        <p:nvPicPr>
          <p:cNvPr id="71" name="Graphic 7" descr="Cloud">
            <a:extLst>
              <a:ext uri="{FF2B5EF4-FFF2-40B4-BE49-F238E27FC236}">
                <a16:creationId xmlns:a16="http://schemas.microsoft.com/office/drawing/2014/main" id="{CC5ABDE7-4C08-46CA-A4A2-B569BD6F3F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70987" y="2417385"/>
            <a:ext cx="708268" cy="784830"/>
          </a:xfrm>
          <a:prstGeom prst="rect">
            <a:avLst/>
          </a:prstGeom>
        </p:spPr>
      </p:pic>
      <p:pic>
        <p:nvPicPr>
          <p:cNvPr id="72" name="Graphic 90" descr="Contract">
            <a:extLst>
              <a:ext uri="{FF2B5EF4-FFF2-40B4-BE49-F238E27FC236}">
                <a16:creationId xmlns:a16="http://schemas.microsoft.com/office/drawing/2014/main" id="{7A507B5D-CDD7-4352-A1F5-F9AE45C788C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64234" y="2687295"/>
            <a:ext cx="272433" cy="272433"/>
          </a:xfrm>
          <a:prstGeom prst="rect">
            <a:avLst/>
          </a:prstGeom>
        </p:spPr>
      </p:pic>
      <p:pic>
        <p:nvPicPr>
          <p:cNvPr id="73" name="Graphic 18" descr="Group">
            <a:extLst>
              <a:ext uri="{FF2B5EF4-FFF2-40B4-BE49-F238E27FC236}">
                <a16:creationId xmlns:a16="http://schemas.microsoft.com/office/drawing/2014/main" id="{CB20709F-0C1F-42AE-82AD-61E1450577D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528101" y="3677755"/>
            <a:ext cx="594361" cy="594361"/>
          </a:xfrm>
          <a:prstGeom prst="rect">
            <a:avLst/>
          </a:prstGeom>
        </p:spPr>
      </p:pic>
      <p:pic>
        <p:nvPicPr>
          <p:cNvPr id="74" name="Graphic 81" descr="Arrow circle">
            <a:extLst>
              <a:ext uri="{FF2B5EF4-FFF2-40B4-BE49-F238E27FC236}">
                <a16:creationId xmlns:a16="http://schemas.microsoft.com/office/drawing/2014/main" id="{C2854BA1-3FDE-4302-886D-D535060BB4C1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61014" y="3813147"/>
            <a:ext cx="382347" cy="382347"/>
          </a:xfrm>
          <a:prstGeom prst="rect">
            <a:avLst/>
          </a:prstGeom>
        </p:spPr>
      </p:pic>
      <p:pic>
        <p:nvPicPr>
          <p:cNvPr id="75" name="Graphic 8" descr="Group">
            <a:extLst>
              <a:ext uri="{FF2B5EF4-FFF2-40B4-BE49-F238E27FC236}">
                <a16:creationId xmlns:a16="http://schemas.microsoft.com/office/drawing/2014/main" id="{932EE4EB-52EE-4FF3-A377-7BA50D7EA60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394439" y="3690467"/>
            <a:ext cx="594361" cy="594361"/>
          </a:xfrm>
          <a:prstGeom prst="rect">
            <a:avLst/>
          </a:prstGeom>
        </p:spPr>
      </p:pic>
      <p:pic>
        <p:nvPicPr>
          <p:cNvPr id="76" name="Graphic 89" descr="Man">
            <a:extLst>
              <a:ext uri="{FF2B5EF4-FFF2-40B4-BE49-F238E27FC236}">
                <a16:creationId xmlns:a16="http://schemas.microsoft.com/office/drawing/2014/main" id="{356E5CEE-7A98-4445-9159-E9FC0EC3D3B4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56178" y="3795936"/>
            <a:ext cx="363151" cy="371772"/>
          </a:xfrm>
          <a:prstGeom prst="rect">
            <a:avLst/>
          </a:prstGeom>
        </p:spPr>
      </p:pic>
      <p:pic>
        <p:nvPicPr>
          <p:cNvPr id="77" name="Graphic 91" descr="Line arrow Straight">
            <a:extLst>
              <a:ext uri="{FF2B5EF4-FFF2-40B4-BE49-F238E27FC236}">
                <a16:creationId xmlns:a16="http://schemas.microsoft.com/office/drawing/2014/main" id="{5F796C50-5001-4608-8D4C-D679D0E9B8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3814625" y="3109019"/>
            <a:ext cx="605297" cy="599148"/>
          </a:xfrm>
          <a:prstGeom prst="rect">
            <a:avLst/>
          </a:prstGeom>
        </p:spPr>
      </p:pic>
      <p:pic>
        <p:nvPicPr>
          <p:cNvPr id="78" name="Graphic 62" descr="Contract">
            <a:extLst>
              <a:ext uri="{FF2B5EF4-FFF2-40B4-BE49-F238E27FC236}">
                <a16:creationId xmlns:a16="http://schemas.microsoft.com/office/drawing/2014/main" id="{27B7C9A6-D7EA-4CA8-8EB3-19A29D3A19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44070" y="2538732"/>
            <a:ext cx="599148" cy="599148"/>
          </a:xfrm>
          <a:prstGeom prst="rect">
            <a:avLst/>
          </a:prstGeom>
        </p:spPr>
      </p:pic>
      <p:pic>
        <p:nvPicPr>
          <p:cNvPr id="79" name="Graphic 61" descr="Contract">
            <a:extLst>
              <a:ext uri="{FF2B5EF4-FFF2-40B4-BE49-F238E27FC236}">
                <a16:creationId xmlns:a16="http://schemas.microsoft.com/office/drawing/2014/main" id="{657C2600-4C46-4EEF-B2B3-C79B7E2BB4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44070" y="3653260"/>
            <a:ext cx="599148" cy="599148"/>
          </a:xfrm>
          <a:prstGeom prst="rect">
            <a:avLst/>
          </a:prstGeom>
        </p:spPr>
      </p:pic>
      <p:pic>
        <p:nvPicPr>
          <p:cNvPr id="80" name="Graphic 61" descr="Contract">
            <a:extLst>
              <a:ext uri="{FF2B5EF4-FFF2-40B4-BE49-F238E27FC236}">
                <a16:creationId xmlns:a16="http://schemas.microsoft.com/office/drawing/2014/main" id="{BE2096CB-E2CE-40FD-B3A5-726D7CAD33E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44070" y="3097634"/>
            <a:ext cx="599148" cy="599148"/>
          </a:xfrm>
          <a:prstGeom prst="rect">
            <a:avLst/>
          </a:prstGeom>
        </p:spPr>
      </p:pic>
      <p:pic>
        <p:nvPicPr>
          <p:cNvPr id="81" name="Picture 80" descr="A close up of a sign&#10;&#10;Description automatically generated">
            <a:extLst>
              <a:ext uri="{FF2B5EF4-FFF2-40B4-BE49-F238E27FC236}">
                <a16:creationId xmlns:a16="http://schemas.microsoft.com/office/drawing/2014/main" id="{AD82D054-5F8C-463E-9C66-0A8489D19EDF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9151" y="2095538"/>
            <a:ext cx="934210" cy="198974"/>
          </a:xfrm>
          <a:prstGeom prst="rect">
            <a:avLst/>
          </a:prstGeom>
        </p:spPr>
      </p:pic>
      <p:pic>
        <p:nvPicPr>
          <p:cNvPr id="82" name="Graphic 91" descr="Line arrow Straight">
            <a:extLst>
              <a:ext uri="{FF2B5EF4-FFF2-40B4-BE49-F238E27FC236}">
                <a16:creationId xmlns:a16="http://schemas.microsoft.com/office/drawing/2014/main" id="{75D6CF42-0EE8-4FEF-92A5-09EF6E35A4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6284143" y="3097634"/>
            <a:ext cx="605297" cy="599148"/>
          </a:xfrm>
          <a:prstGeom prst="rect">
            <a:avLst/>
          </a:prstGeom>
        </p:spPr>
      </p:pic>
      <p:pic>
        <p:nvPicPr>
          <p:cNvPr id="83" name="Picture 82" descr="A picture containing drawing, plate&#10;&#10;Description automatically generated">
            <a:extLst>
              <a:ext uri="{FF2B5EF4-FFF2-40B4-BE49-F238E27FC236}">
                <a16:creationId xmlns:a16="http://schemas.microsoft.com/office/drawing/2014/main" id="{F4D085E9-97F2-4E39-972F-20AFB12D6091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9734" y="3261537"/>
            <a:ext cx="562827" cy="218481"/>
          </a:xfrm>
          <a:prstGeom prst="rect">
            <a:avLst/>
          </a:prstGeom>
        </p:spPr>
      </p:pic>
      <p:pic>
        <p:nvPicPr>
          <p:cNvPr id="84" name="Graphic 91" descr="Line arrow Straight">
            <a:extLst>
              <a:ext uri="{FF2B5EF4-FFF2-40B4-BE49-F238E27FC236}">
                <a16:creationId xmlns:a16="http://schemas.microsoft.com/office/drawing/2014/main" id="{0D051903-5C38-4FD4-9D3E-DCBDB3A18D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444356" y="3091958"/>
            <a:ext cx="605297" cy="599148"/>
          </a:xfrm>
          <a:prstGeom prst="rect">
            <a:avLst/>
          </a:prstGeom>
        </p:spPr>
      </p:pic>
      <p:pic>
        <p:nvPicPr>
          <p:cNvPr id="85" name="Graphic 64" descr="Contract">
            <a:extLst>
              <a:ext uri="{FF2B5EF4-FFF2-40B4-BE49-F238E27FC236}">
                <a16:creationId xmlns:a16="http://schemas.microsoft.com/office/drawing/2014/main" id="{AD0B7808-7032-4F65-9077-C79AA2D46EB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64336" y="2940636"/>
            <a:ext cx="599148" cy="599148"/>
          </a:xfrm>
          <a:prstGeom prst="rect">
            <a:avLst/>
          </a:prstGeom>
        </p:spPr>
      </p:pic>
      <p:pic>
        <p:nvPicPr>
          <p:cNvPr id="86" name="Graphic 64" descr="Contract">
            <a:extLst>
              <a:ext uri="{FF2B5EF4-FFF2-40B4-BE49-F238E27FC236}">
                <a16:creationId xmlns:a16="http://schemas.microsoft.com/office/drawing/2014/main" id="{D95BA864-E9BA-4D95-B2B2-8065326889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67323" y="2530657"/>
            <a:ext cx="599148" cy="599148"/>
          </a:xfrm>
          <a:prstGeom prst="rect">
            <a:avLst/>
          </a:prstGeom>
        </p:spPr>
      </p:pic>
      <p:pic>
        <p:nvPicPr>
          <p:cNvPr id="87" name="Graphic 64" descr="Contract">
            <a:extLst>
              <a:ext uri="{FF2B5EF4-FFF2-40B4-BE49-F238E27FC236}">
                <a16:creationId xmlns:a16="http://schemas.microsoft.com/office/drawing/2014/main" id="{9A33F489-BF4A-4E20-9677-88B63BDC3C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62022" y="2937128"/>
            <a:ext cx="599148" cy="599148"/>
          </a:xfrm>
          <a:prstGeom prst="rect">
            <a:avLst/>
          </a:prstGeom>
        </p:spPr>
      </p:pic>
      <p:sp>
        <p:nvSpPr>
          <p:cNvPr id="88" name="TextBox 45">
            <a:extLst>
              <a:ext uri="{FF2B5EF4-FFF2-40B4-BE49-F238E27FC236}">
                <a16:creationId xmlns:a16="http://schemas.microsoft.com/office/drawing/2014/main" id="{712189F4-BDD2-47DA-9CD8-839A00BC674C}"/>
              </a:ext>
            </a:extLst>
          </p:cNvPr>
          <p:cNvSpPr txBox="1"/>
          <p:nvPr/>
        </p:nvSpPr>
        <p:spPr>
          <a:xfrm>
            <a:off x="4032936" y="2302748"/>
            <a:ext cx="14170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Light" panose="020B0303030303020204" pitchFamily="34" charset="0"/>
                <a:ea typeface="+mn-ea"/>
                <a:cs typeface="+mn-cs"/>
              </a:rPr>
              <a:t>Control Story Library</a:t>
            </a:r>
          </a:p>
        </p:txBody>
      </p:sp>
      <p:pic>
        <p:nvPicPr>
          <p:cNvPr id="89" name="Graphic 91" descr="Line arrow Straight">
            <a:extLst>
              <a:ext uri="{FF2B5EF4-FFF2-40B4-BE49-F238E27FC236}">
                <a16:creationId xmlns:a16="http://schemas.microsoft.com/office/drawing/2014/main" id="{3A078A10-0BD7-4AC3-8223-2F04C8A434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4974357" y="3095663"/>
            <a:ext cx="605297" cy="599148"/>
          </a:xfrm>
          <a:prstGeom prst="rect">
            <a:avLst/>
          </a:prstGeom>
        </p:spPr>
      </p:pic>
      <p:pic>
        <p:nvPicPr>
          <p:cNvPr id="90" name="Graphic 18" descr="Group">
            <a:extLst>
              <a:ext uri="{FF2B5EF4-FFF2-40B4-BE49-F238E27FC236}">
                <a16:creationId xmlns:a16="http://schemas.microsoft.com/office/drawing/2014/main" id="{BC39B6AC-2543-4230-9732-6158208791D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55405" y="3544261"/>
            <a:ext cx="594361" cy="594361"/>
          </a:xfrm>
          <a:prstGeom prst="rect">
            <a:avLst/>
          </a:prstGeom>
        </p:spPr>
      </p:pic>
      <p:pic>
        <p:nvPicPr>
          <p:cNvPr id="91" name="Graphic 81" descr="Arrow circle">
            <a:extLst>
              <a:ext uri="{FF2B5EF4-FFF2-40B4-BE49-F238E27FC236}">
                <a16:creationId xmlns:a16="http://schemas.microsoft.com/office/drawing/2014/main" id="{B24F615D-31E3-4A3E-83AC-0115CB09AAC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499305" y="3611841"/>
            <a:ext cx="382347" cy="382347"/>
          </a:xfrm>
          <a:prstGeom prst="rect">
            <a:avLst/>
          </a:prstGeom>
        </p:spPr>
      </p:pic>
      <p:pic>
        <p:nvPicPr>
          <p:cNvPr id="92" name="Graphic 8" descr="Group">
            <a:extLst>
              <a:ext uri="{FF2B5EF4-FFF2-40B4-BE49-F238E27FC236}">
                <a16:creationId xmlns:a16="http://schemas.microsoft.com/office/drawing/2014/main" id="{5AF3A6D8-77E7-4DC8-A810-E816C6BC890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831191" y="3544260"/>
            <a:ext cx="594361" cy="594361"/>
          </a:xfrm>
          <a:prstGeom prst="rect">
            <a:avLst/>
          </a:prstGeom>
        </p:spPr>
      </p:pic>
      <p:sp>
        <p:nvSpPr>
          <p:cNvPr id="93" name="TextBox 45">
            <a:extLst>
              <a:ext uri="{FF2B5EF4-FFF2-40B4-BE49-F238E27FC236}">
                <a16:creationId xmlns:a16="http://schemas.microsoft.com/office/drawing/2014/main" id="{DA136054-EE08-4D7C-966E-05061C016FE8}"/>
              </a:ext>
            </a:extLst>
          </p:cNvPr>
          <p:cNvSpPr txBox="1"/>
          <p:nvPr/>
        </p:nvSpPr>
        <p:spPr>
          <a:xfrm>
            <a:off x="5386899" y="3479776"/>
            <a:ext cx="11620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Light" panose="020B0303030303020204" pitchFamily="34" charset="0"/>
                <a:ea typeface="+mn-ea"/>
                <a:cs typeface="+mn-cs"/>
              </a:rPr>
              <a:t>Control Stories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310E66CD-2692-4776-ABD2-22D07BA60BF1}"/>
              </a:ext>
            </a:extLst>
          </p:cNvPr>
          <p:cNvGrpSpPr/>
          <p:nvPr/>
        </p:nvGrpSpPr>
        <p:grpSpPr>
          <a:xfrm>
            <a:off x="9109238" y="2814970"/>
            <a:ext cx="1651598" cy="1136966"/>
            <a:chOff x="2605694" y="3304208"/>
            <a:chExt cx="1719200" cy="1428151"/>
          </a:xfrm>
        </p:grpSpPr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139CF369-E823-4386-86CF-18EC01B8DD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8097" y="3671350"/>
              <a:ext cx="931865" cy="580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6" name="Picture 9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6423E3AB-85A8-4CFB-A76D-6D3BF74A01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05694" y="3467323"/>
              <a:ext cx="527016" cy="527016"/>
            </a:xfrm>
            <a:prstGeom prst="rect">
              <a:avLst/>
            </a:prstGeom>
          </p:spPr>
        </p:pic>
        <p:pic>
          <p:nvPicPr>
            <p:cNvPr id="97" name="Graphic 116" descr="Teacher">
              <a:extLst>
                <a:ext uri="{FF2B5EF4-FFF2-40B4-BE49-F238E27FC236}">
                  <a16:creationId xmlns:a16="http://schemas.microsoft.com/office/drawing/2014/main" id="{496BE72B-82F3-409C-AC47-B8ADE9091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2896743" y="3304208"/>
              <a:ext cx="1428151" cy="1428151"/>
            </a:xfrm>
            <a:prstGeom prst="rect">
              <a:avLst/>
            </a:prstGeom>
          </p:spPr>
        </p:pic>
      </p:grp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1A2A3455-4BD2-4483-AF90-6BD595236EC3}"/>
              </a:ext>
            </a:extLst>
          </p:cNvPr>
          <p:cNvCxnSpPr>
            <a:cxnSpLocks/>
          </p:cNvCxnSpPr>
          <p:nvPr/>
        </p:nvCxnSpPr>
        <p:spPr>
          <a:xfrm rot="10800000">
            <a:off x="3252187" y="4345807"/>
            <a:ext cx="4438290" cy="314893"/>
          </a:xfrm>
          <a:prstGeom prst="bentConnector2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3D8429AF-C58D-4D88-9B5D-C9482078CFA7}"/>
              </a:ext>
            </a:extLst>
          </p:cNvPr>
          <p:cNvCxnSpPr/>
          <p:nvPr/>
        </p:nvCxnSpPr>
        <p:spPr>
          <a:xfrm flipH="1">
            <a:off x="7690476" y="4373964"/>
            <a:ext cx="0" cy="28802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Star: 5 Points 99">
            <a:extLst>
              <a:ext uri="{FF2B5EF4-FFF2-40B4-BE49-F238E27FC236}">
                <a16:creationId xmlns:a16="http://schemas.microsoft.com/office/drawing/2014/main" id="{7B7C49D0-3D01-4DE0-A359-32EC933387B9}"/>
              </a:ext>
            </a:extLst>
          </p:cNvPr>
          <p:cNvSpPr/>
          <p:nvPr/>
        </p:nvSpPr>
        <p:spPr>
          <a:xfrm>
            <a:off x="3169530" y="2282482"/>
            <a:ext cx="236787" cy="259350"/>
          </a:xfrm>
          <a:prstGeom prst="star5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1" name="Star: 5 Points 100">
            <a:extLst>
              <a:ext uri="{FF2B5EF4-FFF2-40B4-BE49-F238E27FC236}">
                <a16:creationId xmlns:a16="http://schemas.microsoft.com/office/drawing/2014/main" id="{F78021C3-BB49-4BE8-8CB2-074D75B003ED}"/>
              </a:ext>
            </a:extLst>
          </p:cNvPr>
          <p:cNvSpPr/>
          <p:nvPr/>
        </p:nvSpPr>
        <p:spPr>
          <a:xfrm>
            <a:off x="6682446" y="3674372"/>
            <a:ext cx="236787" cy="259350"/>
          </a:xfrm>
          <a:prstGeom prst="star5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" name="Star: 5 Points 101">
            <a:extLst>
              <a:ext uri="{FF2B5EF4-FFF2-40B4-BE49-F238E27FC236}">
                <a16:creationId xmlns:a16="http://schemas.microsoft.com/office/drawing/2014/main" id="{8947E17B-0123-49EB-9C77-9A4AAFD73A53}"/>
              </a:ext>
            </a:extLst>
          </p:cNvPr>
          <p:cNvSpPr/>
          <p:nvPr/>
        </p:nvSpPr>
        <p:spPr>
          <a:xfrm>
            <a:off x="9972928" y="2646001"/>
            <a:ext cx="236787" cy="259350"/>
          </a:xfrm>
          <a:prstGeom prst="star5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TextBox 45">
            <a:extLst>
              <a:ext uri="{FF2B5EF4-FFF2-40B4-BE49-F238E27FC236}">
                <a16:creationId xmlns:a16="http://schemas.microsoft.com/office/drawing/2014/main" id="{8CB46C51-24AA-44D1-8474-B149ADE6350C}"/>
              </a:ext>
            </a:extLst>
          </p:cNvPr>
          <p:cNvSpPr txBox="1"/>
          <p:nvPr/>
        </p:nvSpPr>
        <p:spPr>
          <a:xfrm>
            <a:off x="7113989" y="2243503"/>
            <a:ext cx="11788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Light" panose="020B0303030303020204" pitchFamily="34" charset="0"/>
                <a:ea typeface="+mn-ea"/>
                <a:cs typeface="+mn-cs"/>
              </a:rPr>
              <a:t>Product Backlog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D443A460-7C86-4510-94A0-5B8A8EB1EB64}"/>
              </a:ext>
            </a:extLst>
          </p:cNvPr>
          <p:cNvSpPr/>
          <p:nvPr/>
        </p:nvSpPr>
        <p:spPr>
          <a:xfrm>
            <a:off x="5579454" y="1947011"/>
            <a:ext cx="512859" cy="52345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BS Light" panose="020B0303030303020204" pitchFamily="34" charset="0"/>
                <a:ea typeface="+mn-ea"/>
                <a:cs typeface="+mn-cs"/>
              </a:rPr>
              <a:t>ECF</a:t>
            </a:r>
          </a:p>
        </p:txBody>
      </p:sp>
      <p:sp>
        <p:nvSpPr>
          <p:cNvPr id="105" name="TextBox 45">
            <a:extLst>
              <a:ext uri="{FF2B5EF4-FFF2-40B4-BE49-F238E27FC236}">
                <a16:creationId xmlns:a16="http://schemas.microsoft.com/office/drawing/2014/main" id="{F19BD61C-98FF-49D1-8667-B163589A5E93}"/>
              </a:ext>
            </a:extLst>
          </p:cNvPr>
          <p:cNvSpPr txBox="1"/>
          <p:nvPr/>
        </p:nvSpPr>
        <p:spPr>
          <a:xfrm>
            <a:off x="5184145" y="2474948"/>
            <a:ext cx="12813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Light" panose="020B0303030303020204" pitchFamily="34" charset="0"/>
                <a:ea typeface="+mn-ea"/>
                <a:cs typeface="+mn-cs"/>
              </a:rPr>
              <a:t>Enterprise Control Framework</a:t>
            </a:r>
          </a:p>
        </p:txBody>
      </p:sp>
      <p:sp>
        <p:nvSpPr>
          <p:cNvPr id="106" name="TextBox 45">
            <a:extLst>
              <a:ext uri="{FF2B5EF4-FFF2-40B4-BE49-F238E27FC236}">
                <a16:creationId xmlns:a16="http://schemas.microsoft.com/office/drawing/2014/main" id="{DFD6BA5B-0F83-4510-9190-5C552225D284}"/>
              </a:ext>
            </a:extLst>
          </p:cNvPr>
          <p:cNvSpPr txBox="1"/>
          <p:nvPr/>
        </p:nvSpPr>
        <p:spPr>
          <a:xfrm>
            <a:off x="4488211" y="4346449"/>
            <a:ext cx="22760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Light" panose="020B0303030303020204" pitchFamily="34" charset="0"/>
                <a:ea typeface="+mn-ea"/>
                <a:cs typeface="+mn-cs"/>
              </a:rPr>
              <a:t>Re-assessment of Risk as required</a:t>
            </a:r>
          </a:p>
        </p:txBody>
      </p:sp>
      <p:sp>
        <p:nvSpPr>
          <p:cNvPr id="107" name="TextBox 45">
            <a:extLst>
              <a:ext uri="{FF2B5EF4-FFF2-40B4-BE49-F238E27FC236}">
                <a16:creationId xmlns:a16="http://schemas.microsoft.com/office/drawing/2014/main" id="{E6A03223-D16C-40D0-9DE7-1447AF6DE6A3}"/>
              </a:ext>
            </a:extLst>
          </p:cNvPr>
          <p:cNvSpPr txBox="1"/>
          <p:nvPr/>
        </p:nvSpPr>
        <p:spPr>
          <a:xfrm>
            <a:off x="6242841" y="4012130"/>
            <a:ext cx="290524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Light"/>
                <a:ea typeface="+mn-ea"/>
                <a:cs typeface="+mn-cs"/>
              </a:rPr>
              <a:t>Product Team, Safety Team and IC Support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2878"/>
              </a:solidFill>
              <a:effectLst/>
              <a:uLnTx/>
              <a:uFillTx/>
              <a:latin typeface="NBS Light" panose="020B0303030303020204" pitchFamily="34" charset="0"/>
              <a:ea typeface="+mn-ea"/>
              <a:cs typeface="+mn-cs"/>
            </a:endParaRPr>
          </a:p>
        </p:txBody>
      </p:sp>
      <p:pic>
        <p:nvPicPr>
          <p:cNvPr id="108" name="Graphic 89" descr="Man">
            <a:extLst>
              <a:ext uri="{FF2B5EF4-FFF2-40B4-BE49-F238E27FC236}">
                <a16:creationId xmlns:a16="http://schemas.microsoft.com/office/drawing/2014/main" id="{7B861D8F-4C2C-4F1C-988A-FC6551F45B01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282040" y="3660235"/>
            <a:ext cx="363151" cy="371772"/>
          </a:xfrm>
          <a:prstGeom prst="rect">
            <a:avLst/>
          </a:prstGeom>
        </p:spPr>
      </p:pic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5345FFF1-A2E9-4BB6-BF52-A49253A2BAF7}"/>
              </a:ext>
            </a:extLst>
          </p:cNvPr>
          <p:cNvCxnSpPr>
            <a:cxnSpLocks/>
          </p:cNvCxnSpPr>
          <p:nvPr/>
        </p:nvCxnSpPr>
        <p:spPr>
          <a:xfrm>
            <a:off x="5293169" y="2192587"/>
            <a:ext cx="245929" cy="4308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" name="Title 1">
            <a:extLst>
              <a:ext uri="{FF2B5EF4-FFF2-40B4-BE49-F238E27FC236}">
                <a16:creationId xmlns:a16="http://schemas.microsoft.com/office/drawing/2014/main" id="{2E3F9644-68B2-40B2-A9FD-437C72D3A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Our Solution </a:t>
            </a:r>
          </a:p>
        </p:txBody>
      </p:sp>
      <p:sp>
        <p:nvSpPr>
          <p:cNvPr id="111" name="Slide Number Placeholder 5">
            <a:extLst>
              <a:ext uri="{FF2B5EF4-FFF2-40B4-BE49-F238E27FC236}">
                <a16:creationId xmlns:a16="http://schemas.microsoft.com/office/drawing/2014/main" id="{EB4C6DDB-C57E-4898-B9B3-E22EF6FEB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652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F2D00490-E439-4BF2-BB8C-F4A2B5F90F57}"/>
              </a:ext>
            </a:extLst>
          </p:cNvPr>
          <p:cNvSpPr txBox="1"/>
          <p:nvPr/>
        </p:nvSpPr>
        <p:spPr>
          <a:xfrm>
            <a:off x="7081000" y="6522000"/>
            <a:ext cx="3280100" cy="2433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NBS Light" pitchFamily="2" charset="0"/>
                <a:ea typeface="+mn-ea"/>
                <a:cs typeface="+mn-cs"/>
              </a:rPr>
              <a:t>Test Data only for Demonstration purpos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9F82C5-AC0C-4E09-ABD4-F74A3D7502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NBS Medium"/>
              </a:rPr>
              <a:t>Enabling Transparency and Traceability 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187A910-1657-4DCD-A234-DA3E47FB631B}"/>
              </a:ext>
            </a:extLst>
          </p:cNvPr>
          <p:cNvGrpSpPr/>
          <p:nvPr/>
        </p:nvGrpSpPr>
        <p:grpSpPr>
          <a:xfrm>
            <a:off x="866056" y="1002643"/>
            <a:ext cx="10459888" cy="5071362"/>
            <a:chOff x="444673" y="1002643"/>
            <a:chExt cx="11375721" cy="5515394"/>
          </a:xfrm>
        </p:grpSpPr>
        <p:pic>
          <p:nvPicPr>
            <p:cNvPr id="9" name="Picture 11" descr="Graphical user interface, application, table, Teams&#10;&#10;Description automatically generated">
              <a:extLst>
                <a:ext uri="{FF2B5EF4-FFF2-40B4-BE49-F238E27FC236}">
                  <a16:creationId xmlns:a16="http://schemas.microsoft.com/office/drawing/2014/main" id="{1BDE4E7E-BE41-4149-ABA7-1F540E4A6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62811" y="1008131"/>
              <a:ext cx="3171172" cy="1202847"/>
            </a:xfrm>
            <a:prstGeom prst="rect">
              <a:avLst/>
            </a:prstGeom>
          </p:spPr>
        </p:pic>
        <p:pic>
          <p:nvPicPr>
            <p:cNvPr id="12" name="Picture 12" descr="Chart, bar chart&#10;&#10;Description automatically generated">
              <a:extLst>
                <a:ext uri="{FF2B5EF4-FFF2-40B4-BE49-F238E27FC236}">
                  <a16:creationId xmlns:a16="http://schemas.microsoft.com/office/drawing/2014/main" id="{ABFA0BF7-FF8C-4047-ADAE-5DD9D4403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75989" y="1008810"/>
              <a:ext cx="4611665" cy="1911297"/>
            </a:xfrm>
            <a:prstGeom prst="rect">
              <a:avLst/>
            </a:prstGeom>
          </p:spPr>
        </p:pic>
        <p:pic>
          <p:nvPicPr>
            <p:cNvPr id="13" name="Picture 14">
              <a:extLst>
                <a:ext uri="{FF2B5EF4-FFF2-40B4-BE49-F238E27FC236}">
                  <a16:creationId xmlns:a16="http://schemas.microsoft.com/office/drawing/2014/main" id="{D9838EA2-7605-4FC1-AB5A-37D8BB13B2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7163" y="2974370"/>
              <a:ext cx="2302438" cy="1779740"/>
            </a:xfrm>
            <a:prstGeom prst="rect">
              <a:avLst/>
            </a:prstGeom>
          </p:spPr>
        </p:pic>
        <p:pic>
          <p:nvPicPr>
            <p:cNvPr id="15" name="Picture 15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E24BC5A7-2795-4CE7-9FAE-CFCB323DA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33297" y="2980047"/>
              <a:ext cx="2235244" cy="1789264"/>
            </a:xfrm>
            <a:prstGeom prst="rect">
              <a:avLst/>
            </a:prstGeom>
          </p:spPr>
        </p:pic>
        <p:pic>
          <p:nvPicPr>
            <p:cNvPr id="16" name="Picture 16" descr="Chart, line chart&#10;&#10;Description automatically generated">
              <a:extLst>
                <a:ext uri="{FF2B5EF4-FFF2-40B4-BE49-F238E27FC236}">
                  <a16:creationId xmlns:a16="http://schemas.microsoft.com/office/drawing/2014/main" id="{19DD0491-BEDE-425C-A163-FCB96092DD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44673" y="4801235"/>
              <a:ext cx="5634623" cy="1716802"/>
            </a:xfrm>
            <a:prstGeom prst="rect">
              <a:avLst/>
            </a:prstGeom>
          </p:spPr>
        </p:pic>
        <p:pic>
          <p:nvPicPr>
            <p:cNvPr id="22" name="Picture 23" descr="Graphical user interface, chart, application&#10;&#10;Description automatically generated">
              <a:extLst>
                <a:ext uri="{FF2B5EF4-FFF2-40B4-BE49-F238E27FC236}">
                  <a16:creationId xmlns:a16="http://schemas.microsoft.com/office/drawing/2014/main" id="{A0BF8DF9-89DA-435F-B243-83CC02696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161768" y="2259668"/>
              <a:ext cx="3162822" cy="1319802"/>
            </a:xfrm>
            <a:prstGeom prst="rect">
              <a:avLst/>
            </a:prstGeom>
          </p:spPr>
        </p:pic>
        <p:pic>
          <p:nvPicPr>
            <p:cNvPr id="24" name="Picture 24" descr="Chart, line chart&#10;&#10;Description automatically generated">
              <a:extLst>
                <a:ext uri="{FF2B5EF4-FFF2-40B4-BE49-F238E27FC236}">
                  <a16:creationId xmlns:a16="http://schemas.microsoft.com/office/drawing/2014/main" id="{893CE25E-3D78-4314-AE98-595A6A296C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154455" y="4804377"/>
              <a:ext cx="5665938" cy="1710519"/>
            </a:xfrm>
            <a:prstGeom prst="rect">
              <a:avLst/>
            </a:prstGeom>
          </p:spPr>
        </p:pic>
        <p:pic>
          <p:nvPicPr>
            <p:cNvPr id="26" name="Picture 26" descr="Chart&#10;&#10;Description automatically generated">
              <a:extLst>
                <a:ext uri="{FF2B5EF4-FFF2-40B4-BE49-F238E27FC236}">
                  <a16:creationId xmlns:a16="http://schemas.microsoft.com/office/drawing/2014/main" id="{5AA6E41A-E2D3-4CBF-83DF-78F6DC5AD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162811" y="3629637"/>
              <a:ext cx="6657583" cy="1126824"/>
            </a:xfrm>
            <a:prstGeom prst="rect">
              <a:avLst/>
            </a:prstGeom>
          </p:spPr>
        </p:pic>
        <p:pic>
          <p:nvPicPr>
            <p:cNvPr id="27" name="Picture 27" descr="Chart, bar chart&#10;&#10;Description automatically generated">
              <a:extLst>
                <a:ext uri="{FF2B5EF4-FFF2-40B4-BE49-F238E27FC236}">
                  <a16:creationId xmlns:a16="http://schemas.microsoft.com/office/drawing/2014/main" id="{F86E4216-45CB-477C-B7EE-379FFBCC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398701" y="1002643"/>
              <a:ext cx="3390377" cy="2570810"/>
            </a:xfrm>
            <a:prstGeom prst="rect">
              <a:avLst/>
            </a:prstGeom>
          </p:spPr>
        </p:pic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0204F14-2FB7-4779-B943-8FC3EC6CB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502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AF8F1-62BC-EC4E-9584-DAB7AB60E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F5B645D-61CD-FE42-ADD7-6714EF07DF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2000" b="0" i="0" kern="1200">
                <a:solidFill>
                  <a:schemeClr val="tx1"/>
                </a:solidFill>
                <a:latin typeface="NBS Light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A4987-E228-4949-89FA-A71A39C61D9B}" type="slidenum">
              <a:rPr lang="en-US" smtClean="0"/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878"/>
              </a:solidFill>
              <a:effectLst/>
              <a:uLnTx/>
              <a:uFillTx/>
              <a:latin typeface="NBS Light" pitchFamily="2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302F51-4EC9-8A4C-B76B-D241246018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000" y="1880627"/>
            <a:ext cx="3609141" cy="3642528"/>
          </a:xfrm>
          <a:prstGeom prst="rect">
            <a:avLst/>
          </a:prstGeom>
        </p:spPr>
      </p:pic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44A2FEF3-2D18-D247-9300-6BE5B5185E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806549"/>
              </p:ext>
            </p:extLst>
          </p:nvPr>
        </p:nvGraphicFramePr>
        <p:xfrm>
          <a:off x="4380411" y="2117747"/>
          <a:ext cx="7331589" cy="196712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636736">
                  <a:extLst>
                    <a:ext uri="{9D8B030D-6E8A-4147-A177-3AD203B41FA5}">
                      <a16:colId xmlns:a16="http://schemas.microsoft.com/office/drawing/2014/main" val="3075898506"/>
                    </a:ext>
                  </a:extLst>
                </a:gridCol>
                <a:gridCol w="694853">
                  <a:extLst>
                    <a:ext uri="{9D8B030D-6E8A-4147-A177-3AD203B41FA5}">
                      <a16:colId xmlns:a16="http://schemas.microsoft.com/office/drawing/2014/main" val="1222074022"/>
                    </a:ext>
                  </a:extLst>
                </a:gridCol>
              </a:tblGrid>
              <a:tr h="653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>
                          <a:solidFill>
                            <a:schemeClr val="bg2"/>
                          </a:solidFill>
                          <a:latin typeface="NBS Medium" pitchFamily="2" charset="0"/>
                        </a:rPr>
                        <a:t>Nationwide Building Society overview</a:t>
                      </a:r>
                    </a:p>
                  </a:txBody>
                  <a:tcPr marL="0" marR="0" marT="144000" marB="144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100" b="0" i="0">
                        <a:solidFill>
                          <a:schemeClr val="tx2"/>
                        </a:solidFill>
                        <a:latin typeface="NBS Light" pitchFamily="2" charset="0"/>
                      </a:endParaRPr>
                    </a:p>
                  </a:txBody>
                  <a:tcPr marL="120000" marR="96000" marT="144000" marB="144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6057647"/>
                  </a:ext>
                </a:extLst>
              </a:tr>
              <a:tr h="653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>
                          <a:solidFill>
                            <a:schemeClr val="bg2"/>
                          </a:solidFill>
                          <a:latin typeface="NBS Medium" pitchFamily="2" charset="0"/>
                        </a:rPr>
                        <a:t>What we needed</a:t>
                      </a:r>
                    </a:p>
                  </a:txBody>
                  <a:tcPr marL="0" marR="0" marT="144000" marB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100" b="0" i="0">
                        <a:solidFill>
                          <a:schemeClr val="tx2"/>
                        </a:solidFill>
                        <a:latin typeface="NBS Light" pitchFamily="2" charset="0"/>
                      </a:endParaRPr>
                    </a:p>
                  </a:txBody>
                  <a:tcPr marL="120000" marR="96000" marT="144000" marB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7178819"/>
                  </a:ext>
                </a:extLst>
              </a:tr>
              <a:tr h="6537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2400" b="0" i="0" kern="1200" noProof="0" dirty="0">
                          <a:solidFill>
                            <a:srgbClr val="0070C0"/>
                          </a:solidFill>
                          <a:latin typeface="NBS Medium" pitchFamily="2" charset="0"/>
                          <a:ea typeface="+mn-ea"/>
                          <a:cs typeface="+mn-cs"/>
                        </a:rPr>
                        <a:t>What did and what we’ve learnt</a:t>
                      </a:r>
                      <a:endParaRPr lang="en-US" sz="2400" b="0" i="0" dirty="0">
                        <a:solidFill>
                          <a:schemeClr val="bg2"/>
                        </a:solidFill>
                        <a:latin typeface="NBS Medium" pitchFamily="2" charset="0"/>
                      </a:endParaRPr>
                    </a:p>
                  </a:txBody>
                  <a:tcPr marL="0" marR="0" marT="144000" marB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100" b="0" i="0" dirty="0">
                        <a:solidFill>
                          <a:schemeClr val="tx2"/>
                        </a:solidFill>
                        <a:latin typeface="NBS Light" pitchFamily="2" charset="0"/>
                      </a:endParaRPr>
                    </a:p>
                  </a:txBody>
                  <a:tcPr marL="120000" marR="96000" marT="144000" marB="14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23662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46583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D471E-078E-104D-8B9A-A1B09372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sson – Understand why processes and controls existed in the first plac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A1DB5B3-313A-436C-BC58-F35742A763B3}"/>
              </a:ext>
            </a:extLst>
          </p:cNvPr>
          <p:cNvSpPr txBox="1">
            <a:spLocks/>
          </p:cNvSpPr>
          <p:nvPr/>
        </p:nvSpPr>
        <p:spPr>
          <a:xfrm>
            <a:off x="479997" y="1525693"/>
            <a:ext cx="5713539" cy="41679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defRPr sz="1867" b="1" i="0" kern="1200" baseline="0">
                <a:solidFill>
                  <a:schemeClr val="bg2"/>
                </a:solidFill>
                <a:latin typeface="NBS Light"/>
                <a:ea typeface="+mn-ea"/>
                <a:cs typeface="NBS Light"/>
              </a:defRPr>
            </a:lvl1pPr>
            <a:lvl2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2pPr>
            <a:lvl3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3pPr>
            <a:lvl4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4pPr>
            <a:lvl5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tabLst/>
              <a:defRPr sz="1333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Controls are the symptom of an underlying perceived need (perhaps a reaction to a past event)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What is that need and can we fully still meet it?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If we don’t think we need it, can we help others agree?</a:t>
            </a:r>
          </a:p>
        </p:txBody>
      </p:sp>
      <p:pic>
        <p:nvPicPr>
          <p:cNvPr id="11268" name="Picture 4" descr="See the source image">
            <a:extLst>
              <a:ext uri="{FF2B5EF4-FFF2-40B4-BE49-F238E27FC236}">
                <a16:creationId xmlns:a16="http://schemas.microsoft.com/office/drawing/2014/main" id="{07E27F16-CFE1-40E1-ADC8-336253D8DB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5532" y="1090845"/>
            <a:ext cx="3670300" cy="4893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3340C7C-D371-4092-B2F3-7A13DA6A5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7141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D471E-078E-104D-8B9A-A1B09372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sson – Enterprise visible tickets really do work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A1DB5B3-313A-436C-BC58-F35742A763B3}"/>
              </a:ext>
            </a:extLst>
          </p:cNvPr>
          <p:cNvSpPr txBox="1">
            <a:spLocks/>
          </p:cNvSpPr>
          <p:nvPr/>
        </p:nvSpPr>
        <p:spPr>
          <a:xfrm>
            <a:off x="479997" y="1525693"/>
            <a:ext cx="4877449" cy="41679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defRPr sz="1867" b="1" i="0" kern="1200" baseline="0">
                <a:solidFill>
                  <a:schemeClr val="bg2"/>
                </a:solidFill>
                <a:latin typeface="NBS Light"/>
                <a:ea typeface="+mn-ea"/>
                <a:cs typeface="NBS Light"/>
              </a:defRPr>
            </a:lvl1pPr>
            <a:lvl2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2pPr>
            <a:lvl3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3pPr>
            <a:lvl4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4pPr>
            <a:lvl5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tabLst/>
              <a:defRPr sz="1333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Sometimes our tool is better than yours (if more people have access)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Just enough workflow and structured data capture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Simple reporting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</p:txBody>
      </p:sp>
      <p:pic>
        <p:nvPicPr>
          <p:cNvPr id="12290" name="Picture 2" descr="See the source image">
            <a:extLst>
              <a:ext uri="{FF2B5EF4-FFF2-40B4-BE49-F238E27FC236}">
                <a16:creationId xmlns:a16="http://schemas.microsoft.com/office/drawing/2014/main" id="{93D62E68-BBF2-4835-8145-455EA17D5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1201" y="1718733"/>
            <a:ext cx="5130802" cy="3420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135C964-49B3-46CA-A64A-F3647FCBF8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4964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D471E-078E-104D-8B9A-A1B09372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sson – You can’t over communicate</a:t>
            </a:r>
          </a:p>
        </p:txBody>
      </p:sp>
      <p:pic>
        <p:nvPicPr>
          <p:cNvPr id="17410" name="Picture 2" descr="See the source image">
            <a:extLst>
              <a:ext uri="{FF2B5EF4-FFF2-40B4-BE49-F238E27FC236}">
                <a16:creationId xmlns:a16="http://schemas.microsoft.com/office/drawing/2014/main" id="{233140E7-1348-41C5-B208-36379AE5A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82160" y="1552574"/>
            <a:ext cx="5931990" cy="401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00839DB-DFB7-429C-B016-E653E03C21B2}"/>
              </a:ext>
            </a:extLst>
          </p:cNvPr>
          <p:cNvSpPr txBox="1">
            <a:spLocks/>
          </p:cNvSpPr>
          <p:nvPr/>
        </p:nvSpPr>
        <p:spPr>
          <a:xfrm>
            <a:off x="479997" y="1525693"/>
            <a:ext cx="4815903" cy="41679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defRPr sz="1867" b="1" i="0" kern="1200" baseline="0">
                <a:solidFill>
                  <a:schemeClr val="bg2"/>
                </a:solidFill>
                <a:latin typeface="NBS Light"/>
                <a:ea typeface="+mn-ea"/>
                <a:cs typeface="NBS Light"/>
              </a:defRPr>
            </a:lvl1pPr>
            <a:lvl2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2pPr>
            <a:lvl3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3pPr>
            <a:lvl4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4pPr>
            <a:lvl5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tabLst/>
              <a:defRPr sz="1333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Everyone will have their own ideas about what this mean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It’s a complex field and jargon creates silo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Regular, bite size communication is key – and stakeholder advocat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12304B2-99DD-426F-B0FB-FAA4AC5297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7507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D471E-078E-104D-8B9A-A1B09372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sson - Acknowledge the unsafety</a:t>
            </a:r>
          </a:p>
        </p:txBody>
      </p:sp>
      <p:pic>
        <p:nvPicPr>
          <p:cNvPr id="18434" name="Picture 2" descr="See the source image">
            <a:extLst>
              <a:ext uri="{FF2B5EF4-FFF2-40B4-BE49-F238E27FC236}">
                <a16:creationId xmlns:a16="http://schemas.microsoft.com/office/drawing/2014/main" id="{563B40AE-2F2C-454F-82D8-B25ED39CDA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1785144"/>
            <a:ext cx="5560732" cy="3719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D20C4E1-984E-43AE-94C7-BF7B3261E7CD}"/>
              </a:ext>
            </a:extLst>
          </p:cNvPr>
          <p:cNvSpPr txBox="1">
            <a:spLocks/>
          </p:cNvSpPr>
          <p:nvPr/>
        </p:nvSpPr>
        <p:spPr>
          <a:xfrm>
            <a:off x="479997" y="1525693"/>
            <a:ext cx="4815903" cy="41679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defRPr sz="1867" b="1" i="0" kern="1200" baseline="0">
                <a:solidFill>
                  <a:schemeClr val="bg2"/>
                </a:solidFill>
                <a:latin typeface="NBS Light"/>
                <a:ea typeface="+mn-ea"/>
                <a:cs typeface="NBS Light"/>
              </a:defRPr>
            </a:lvl1pPr>
            <a:lvl2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2pPr>
            <a:lvl3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3pPr>
            <a:lvl4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4pPr>
            <a:lvl5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tabLst/>
              <a:defRPr sz="1333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Empowerment can feel threatening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Help people adjust to their independenc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146671B-A1F2-4D58-BD02-F1A36E5277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8624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D471E-078E-104D-8B9A-A1B09372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sson – Sometimes it’s the user and not the control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A1DB5B3-313A-436C-BC58-F35742A763B3}"/>
              </a:ext>
            </a:extLst>
          </p:cNvPr>
          <p:cNvSpPr txBox="1">
            <a:spLocks/>
          </p:cNvSpPr>
          <p:nvPr/>
        </p:nvSpPr>
        <p:spPr>
          <a:xfrm>
            <a:off x="479997" y="1525693"/>
            <a:ext cx="5311203" cy="41679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defRPr sz="1867" b="1" i="0" kern="1200" baseline="0">
                <a:solidFill>
                  <a:schemeClr val="bg2"/>
                </a:solidFill>
                <a:latin typeface="NBS Light"/>
                <a:ea typeface="+mn-ea"/>
                <a:cs typeface="NBS Light"/>
              </a:defRPr>
            </a:lvl1pPr>
            <a:lvl2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2pPr>
            <a:lvl3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3pPr>
            <a:lvl4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4pPr>
            <a:lvl5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tabLst/>
              <a:defRPr sz="1333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Teams may over-apply controls which they could have qualified out of 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For example with code deployments, they may not </a:t>
            </a:r>
            <a:r>
              <a:rPr lang="en-US" sz="2400" dirty="0" err="1"/>
              <a:t>realise</a:t>
            </a:r>
            <a:r>
              <a:rPr lang="en-US" sz="2400" dirty="0"/>
              <a:t> how close they are to meeting the criteria to deliver as Standard Changes</a:t>
            </a:r>
          </a:p>
        </p:txBody>
      </p:sp>
      <p:pic>
        <p:nvPicPr>
          <p:cNvPr id="13316" name="Picture 4" descr="Image result for hammer screw">
            <a:extLst>
              <a:ext uri="{FF2B5EF4-FFF2-40B4-BE49-F238E27FC236}">
                <a16:creationId xmlns:a16="http://schemas.microsoft.com/office/drawing/2014/main" id="{54885AB6-7803-4B16-B90E-F46C38577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1560512"/>
            <a:ext cx="5511094" cy="373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6EA0CD-8165-4C8F-8FD3-B58C5AEEF9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1574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D471E-078E-104D-8B9A-A1B09372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sson – Intelligent Control is not such an Intelligent name</a:t>
            </a:r>
          </a:p>
        </p:txBody>
      </p:sp>
      <p:pic>
        <p:nvPicPr>
          <p:cNvPr id="7170" name="Picture 2" descr="See the source image">
            <a:extLst>
              <a:ext uri="{FF2B5EF4-FFF2-40B4-BE49-F238E27FC236}">
                <a16:creationId xmlns:a16="http://schemas.microsoft.com/office/drawing/2014/main" id="{489F3E5B-2E6D-4E07-B7AE-8E269F2A60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3700" y="1837628"/>
            <a:ext cx="4968303" cy="354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A1DB5B3-313A-436C-BC58-F35742A763B3}"/>
              </a:ext>
            </a:extLst>
          </p:cNvPr>
          <p:cNvSpPr txBox="1">
            <a:spLocks/>
          </p:cNvSpPr>
          <p:nvPr/>
        </p:nvSpPr>
        <p:spPr>
          <a:xfrm>
            <a:off x="479997" y="1525693"/>
            <a:ext cx="5713539" cy="41679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defRPr sz="1867" b="1" i="0" kern="1200" baseline="0">
                <a:solidFill>
                  <a:schemeClr val="bg2"/>
                </a:solidFill>
                <a:latin typeface="NBS Light"/>
                <a:ea typeface="+mn-ea"/>
                <a:cs typeface="NBS Light"/>
              </a:defRPr>
            </a:lvl1pPr>
            <a:lvl2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2pPr>
            <a:lvl3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3pPr>
            <a:lvl4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4pPr>
            <a:lvl5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tabLst/>
              <a:defRPr sz="1333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Who is intelligent?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Is this AI (it’s not AI)?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C92870E-BF2F-46D7-84A3-5B969AA5A0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9158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D471E-078E-104D-8B9A-A1B09372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’s next and where we’d like help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D20C4E1-984E-43AE-94C7-BF7B3261E7CD}"/>
              </a:ext>
            </a:extLst>
          </p:cNvPr>
          <p:cNvSpPr txBox="1">
            <a:spLocks/>
          </p:cNvSpPr>
          <p:nvPr/>
        </p:nvSpPr>
        <p:spPr>
          <a:xfrm>
            <a:off x="479997" y="1525693"/>
            <a:ext cx="4815903" cy="41679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defRPr sz="1867" b="1" i="0" kern="1200" baseline="0">
                <a:solidFill>
                  <a:schemeClr val="bg2"/>
                </a:solidFill>
                <a:latin typeface="NBS Light"/>
                <a:ea typeface="+mn-ea"/>
                <a:cs typeface="NBS Light"/>
              </a:defRPr>
            </a:lvl1pPr>
            <a:lvl2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2pPr>
            <a:lvl3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3pPr>
            <a:lvl4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4pPr>
            <a:lvl5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tabLst/>
              <a:defRPr sz="1333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Learning from </a:t>
            </a:r>
            <a:r>
              <a:rPr lang="en-US" sz="2400" err="1"/>
              <a:t>DevSecOps</a:t>
            </a: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Automation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Holistic view of control, security, reliability, and business value</a:t>
            </a:r>
          </a:p>
        </p:txBody>
      </p:sp>
      <p:pic>
        <p:nvPicPr>
          <p:cNvPr id="20482" name="Picture 2" descr="See the source image">
            <a:extLst>
              <a:ext uri="{FF2B5EF4-FFF2-40B4-BE49-F238E27FC236}">
                <a16:creationId xmlns:a16="http://schemas.microsoft.com/office/drawing/2014/main" id="{3B833796-7132-4BBD-88A1-7D00507BE0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3719" y="1876974"/>
            <a:ext cx="5204528" cy="3465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6773A8C-4825-43A8-A239-995358A0D9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5933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D471E-078E-104D-8B9A-A1B09372D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D33814-D664-4ACE-A9D8-46BC49DC16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525693"/>
            <a:ext cx="9226711" cy="4167971"/>
          </a:xfrm>
        </p:spPr>
        <p:txBody>
          <a:bodyPr>
            <a:normAutofit/>
          </a:bodyPr>
          <a:lstStyle/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Creativity can love constraints and DevOps can love Control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Remember the teenager dynamic and that after all we’re a family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err="1"/>
              <a:t>Standardising</a:t>
            </a:r>
            <a:r>
              <a:rPr lang="en-US" sz="2400"/>
              <a:t> and streamlining controls is extremely powerful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/>
              <a:t>It’s an ongoing journey not a destination!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5D0C316-B367-4A06-838A-1B20D450A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5771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C57B3-7144-B44D-93ED-D07E574848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991" y="853200"/>
            <a:ext cx="9750852" cy="664797"/>
          </a:xfrm>
        </p:spPr>
        <p:txBody>
          <a:bodyPr/>
          <a:lstStyle/>
          <a:p>
            <a:r>
              <a:rPr lang="en-US" dirty="0"/>
              <a:t>Thanks!</a:t>
            </a:r>
          </a:p>
        </p:txBody>
      </p:sp>
      <p:sp>
        <p:nvSpPr>
          <p:cNvPr id="3" name="Rounded Rectangle 7">
            <a:extLst>
              <a:ext uri="{FF2B5EF4-FFF2-40B4-BE49-F238E27FC236}">
                <a16:creationId xmlns:a16="http://schemas.microsoft.com/office/drawing/2014/main" id="{E3A05849-9767-4A26-BE51-17C61A56A450}"/>
              </a:ext>
            </a:extLst>
          </p:cNvPr>
          <p:cNvSpPr/>
          <p:nvPr/>
        </p:nvSpPr>
        <p:spPr>
          <a:xfrm>
            <a:off x="2506132" y="2275430"/>
            <a:ext cx="2248546" cy="5539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Medium" panose="020B0603030303020204" pitchFamily="34" charset="0"/>
                <a:ea typeface="+mn-ea"/>
                <a:cs typeface="+mn-cs"/>
              </a:rPr>
              <a:t>Leanne Brid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004E8D-3C1A-4FB1-B8A2-B96C207308A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7582" y="2894452"/>
            <a:ext cx="2361462" cy="2445551"/>
          </a:xfrm>
          <a:prstGeom prst="ellipse">
            <a:avLst/>
          </a:prstGeom>
        </p:spPr>
      </p:pic>
      <p:sp>
        <p:nvSpPr>
          <p:cNvPr id="5" name="Rounded Rectangle 7">
            <a:extLst>
              <a:ext uri="{FF2B5EF4-FFF2-40B4-BE49-F238E27FC236}">
                <a16:creationId xmlns:a16="http://schemas.microsoft.com/office/drawing/2014/main" id="{C6F51501-0EE3-47A5-A2A8-9B05BE44C52C}"/>
              </a:ext>
            </a:extLst>
          </p:cNvPr>
          <p:cNvSpPr/>
          <p:nvPr/>
        </p:nvSpPr>
        <p:spPr>
          <a:xfrm>
            <a:off x="6889321" y="2275430"/>
            <a:ext cx="2399723" cy="5539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Medium" panose="020B0603030303020204" pitchFamily="34" charset="0"/>
                <a:ea typeface="+mn-ea"/>
                <a:cs typeface="+mn-cs"/>
              </a:rPr>
              <a:t>@MarkosRendel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701B8C-B400-4361-9966-F5E695C2BB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6132" y="2894452"/>
            <a:ext cx="2445551" cy="2445551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98445C1-6EE7-4F95-9CFD-BE2CAEA8597F}"/>
              </a:ext>
            </a:extLst>
          </p:cNvPr>
          <p:cNvSpPr txBox="1"/>
          <p:nvPr/>
        </p:nvSpPr>
        <p:spPr>
          <a:xfrm>
            <a:off x="2560189" y="5451230"/>
            <a:ext cx="2140432" cy="4689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NBS Light" pitchFamily="2" charset="0"/>
              </a:rPr>
              <a:t>Intelligent Contro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1FDD1C-A9B1-4C25-A17D-117DEC5B5085}"/>
              </a:ext>
            </a:extLst>
          </p:cNvPr>
          <p:cNvSpPr txBox="1"/>
          <p:nvPr/>
        </p:nvSpPr>
        <p:spPr>
          <a:xfrm>
            <a:off x="7018966" y="5451230"/>
            <a:ext cx="2140432" cy="4689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NBS Light" pitchFamily="2" charset="0"/>
              </a:rPr>
              <a:t>DevOps </a:t>
            </a:r>
          </a:p>
          <a:p>
            <a:pPr algn="ctr"/>
            <a:r>
              <a:rPr lang="en-GB" sz="2400" b="1">
                <a:solidFill>
                  <a:schemeClr val="bg1"/>
                </a:solidFill>
                <a:latin typeface="NBS Light" pitchFamily="2" charset="0"/>
              </a:rPr>
              <a:t>Ways of Working</a:t>
            </a:r>
          </a:p>
        </p:txBody>
      </p:sp>
    </p:spTree>
    <p:extLst>
      <p:ext uri="{BB962C8B-B14F-4D97-AF65-F5344CB8AC3E}">
        <p14:creationId xmlns:p14="http://schemas.microsoft.com/office/powerpoint/2010/main" val="9882960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6B2B1-6632-9049-8A8E-56A7481ECA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1555" y="1075714"/>
            <a:ext cx="9750852" cy="664797"/>
          </a:xfrm>
        </p:spPr>
        <p:txBody>
          <a:bodyPr/>
          <a:lstStyle/>
          <a:p>
            <a:r>
              <a:rPr lang="en-US"/>
              <a:t>Who we a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07A65D-CC92-454B-B3FF-AD26F8928DE7}"/>
              </a:ext>
            </a:extLst>
          </p:cNvPr>
          <p:cNvCxnSpPr>
            <a:cxnSpLocks/>
          </p:cNvCxnSpPr>
          <p:nvPr/>
        </p:nvCxnSpPr>
        <p:spPr>
          <a:xfrm>
            <a:off x="474368" y="733142"/>
            <a:ext cx="0" cy="1349943"/>
          </a:xfrm>
          <a:prstGeom prst="line">
            <a:avLst/>
          </a:prstGeom>
          <a:ln w="38100" cap="rnd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ounded Rectangle 7">
            <a:extLst>
              <a:ext uri="{FF2B5EF4-FFF2-40B4-BE49-F238E27FC236}">
                <a16:creationId xmlns:a16="http://schemas.microsoft.com/office/drawing/2014/main" id="{D693496A-2F91-4DEA-878D-81C1D7024D3A}"/>
              </a:ext>
            </a:extLst>
          </p:cNvPr>
          <p:cNvSpPr/>
          <p:nvPr/>
        </p:nvSpPr>
        <p:spPr>
          <a:xfrm>
            <a:off x="2506132" y="2275430"/>
            <a:ext cx="2248546" cy="5539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Medium" panose="020B0603030303020204" pitchFamily="34" charset="0"/>
                <a:ea typeface="+mn-ea"/>
                <a:cs typeface="+mn-cs"/>
              </a:rPr>
              <a:t>Leanne Bridg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8F4525F-42AB-4954-8692-2BF0BF70AB7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7582" y="2894452"/>
            <a:ext cx="2361462" cy="2445551"/>
          </a:xfrm>
          <a:prstGeom prst="ellipse">
            <a:avLst/>
          </a:prstGeom>
        </p:spPr>
      </p:pic>
      <p:sp>
        <p:nvSpPr>
          <p:cNvPr id="22" name="Rounded Rectangle 7">
            <a:extLst>
              <a:ext uri="{FF2B5EF4-FFF2-40B4-BE49-F238E27FC236}">
                <a16:creationId xmlns:a16="http://schemas.microsoft.com/office/drawing/2014/main" id="{56961FEF-CFA9-4720-B5C3-00BFD24FE41F}"/>
              </a:ext>
            </a:extLst>
          </p:cNvPr>
          <p:cNvSpPr/>
          <p:nvPr/>
        </p:nvSpPr>
        <p:spPr>
          <a:xfrm>
            <a:off x="6889321" y="2275430"/>
            <a:ext cx="2399723" cy="5539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NBS Medium" panose="020B0603030303020204" pitchFamily="34" charset="0"/>
                <a:ea typeface="+mn-ea"/>
                <a:cs typeface="+mn-cs"/>
              </a:rPr>
              <a:t>@MarkosRendel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68B9062-3386-4855-9D38-9053C6345A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6132" y="2894452"/>
            <a:ext cx="2445551" cy="2445551"/>
          </a:xfrm>
          <a:prstGeom prst="ellipse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44BECFC-CAC2-4DB4-9112-22131DB76F88}"/>
              </a:ext>
            </a:extLst>
          </p:cNvPr>
          <p:cNvSpPr txBox="1"/>
          <p:nvPr/>
        </p:nvSpPr>
        <p:spPr>
          <a:xfrm>
            <a:off x="2560189" y="5451230"/>
            <a:ext cx="2140432" cy="4689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NBS Light" pitchFamily="2" charset="0"/>
              </a:rPr>
              <a:t>Intelligent Contro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682C63-35AC-4E6E-8190-5CAC1957F6A8}"/>
              </a:ext>
            </a:extLst>
          </p:cNvPr>
          <p:cNvSpPr txBox="1"/>
          <p:nvPr/>
        </p:nvSpPr>
        <p:spPr>
          <a:xfrm>
            <a:off x="7018966" y="5451230"/>
            <a:ext cx="2140432" cy="4689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NBS Light" pitchFamily="2" charset="0"/>
              </a:rPr>
              <a:t>DevOps </a:t>
            </a:r>
          </a:p>
          <a:p>
            <a:pPr algn="ctr"/>
            <a:r>
              <a:rPr lang="en-GB" sz="2400" b="1">
                <a:solidFill>
                  <a:schemeClr val="bg1"/>
                </a:solidFill>
                <a:latin typeface="NBS Light" pitchFamily="2" charset="0"/>
              </a:rPr>
              <a:t>Ways of Working</a:t>
            </a:r>
          </a:p>
        </p:txBody>
      </p:sp>
    </p:spTree>
    <p:extLst>
      <p:ext uri="{BB962C8B-B14F-4D97-AF65-F5344CB8AC3E}">
        <p14:creationId xmlns:p14="http://schemas.microsoft.com/office/powerpoint/2010/main" val="2446510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6646BC-5178-4443-BB4D-37C0F1B6DA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6646BC-5178-4443-BB4D-37C0F1B6D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70B1BB31-5987-4129-B382-9AA190089E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148" y="871059"/>
            <a:ext cx="9409773" cy="1683872"/>
          </a:xfrm>
        </p:spPr>
        <p:txBody>
          <a:bodyPr/>
          <a:lstStyle/>
          <a:p>
            <a:r>
              <a:rPr lang="en-GB"/>
              <a:t>About Nationwid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2FDABF3-F3DA-4E56-950F-BB11506D0830}"/>
              </a:ext>
            </a:extLst>
          </p:cNvPr>
          <p:cNvCxnSpPr>
            <a:cxnSpLocks/>
          </p:cNvCxnSpPr>
          <p:nvPr/>
        </p:nvCxnSpPr>
        <p:spPr>
          <a:xfrm>
            <a:off x="474879" y="586388"/>
            <a:ext cx="18142" cy="5444888"/>
          </a:xfrm>
          <a:prstGeom prst="line">
            <a:avLst/>
          </a:prstGeom>
          <a:ln w="31750" cap="rnd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0CE761D7-4F45-4773-85FF-C596F5CFBFD3}"/>
              </a:ext>
            </a:extLst>
          </p:cNvPr>
          <p:cNvSpPr txBox="1"/>
          <p:nvPr/>
        </p:nvSpPr>
        <p:spPr>
          <a:xfrm>
            <a:off x="11544454" y="282283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NBS Light" pitchFamily="2" charset="0"/>
              <a:ea typeface="+mn-ea"/>
              <a:cs typeface="+mn-cs"/>
            </a:endParaRPr>
          </a:p>
        </p:txBody>
      </p:sp>
      <p:sp>
        <p:nvSpPr>
          <p:cNvPr id="17" name="Subtitle 8">
            <a:extLst>
              <a:ext uri="{FF2B5EF4-FFF2-40B4-BE49-F238E27FC236}">
                <a16:creationId xmlns:a16="http://schemas.microsoft.com/office/drawing/2014/main" id="{30C07905-A831-45AD-B807-A7A4C17D85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148" y="2665786"/>
            <a:ext cx="4602823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880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BS Light" panose="020B0303030303020204" pitchFamily="34" charset="0"/>
                <a:ea typeface="+mn-ea"/>
                <a:cs typeface="+mn-cs"/>
              </a:rPr>
              <a:t>We’re the world’s largest Building Society, the UK’s second largest mortgage provider, and one of the UK’s largest savings providers. </a:t>
            </a:r>
          </a:p>
        </p:txBody>
      </p:sp>
      <p:pic>
        <p:nvPicPr>
          <p:cNvPr id="19" name="Picture 2" descr="Streatham_124">
            <a:extLst>
              <a:ext uri="{FF2B5EF4-FFF2-40B4-BE49-F238E27FC236}">
                <a16:creationId xmlns:a16="http://schemas.microsoft.com/office/drawing/2014/main" id="{AF786816-196E-4E33-953D-1ABF55FBB5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6390" y="1530752"/>
            <a:ext cx="2566781" cy="1710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Woman using mobile device_NBS Library_T_NW">
            <a:extLst>
              <a:ext uri="{FF2B5EF4-FFF2-40B4-BE49-F238E27FC236}">
                <a16:creationId xmlns:a16="http://schemas.microsoft.com/office/drawing/2014/main" id="{6F696FB7-E29D-449D-ADFD-32D01DC9A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6389" y="3429000"/>
            <a:ext cx="2566782" cy="17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8" descr="Couple in kitchen_NBS Library_T_Nov 2016_4612_NW">
            <a:extLst>
              <a:ext uri="{FF2B5EF4-FFF2-40B4-BE49-F238E27FC236}">
                <a16:creationId xmlns:a16="http://schemas.microsoft.com/office/drawing/2014/main" id="{DAE8B1E2-F555-4486-BC9B-CF0197A21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7327" y="3429000"/>
            <a:ext cx="2566782" cy="17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0" descr="Nurse and daughter : member : 2018 : nw4629 : NW">
            <a:extLst>
              <a:ext uri="{FF2B5EF4-FFF2-40B4-BE49-F238E27FC236}">
                <a16:creationId xmlns:a16="http://schemas.microsoft.com/office/drawing/2014/main" id="{BEE93886-18BD-47FB-87B2-A7EF04796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7327" y="1530752"/>
            <a:ext cx="2566782" cy="1710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6260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010D3-F24F-4FF4-8633-8BA2DAF24D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Firstly, a bit about Nationwide… </a:t>
            </a:r>
            <a:endParaRPr lang="en-GB" b="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F168AC-065A-43D9-97CB-AB1DBC8240B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508" y="1022526"/>
            <a:ext cx="1169317" cy="117230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0590F9A-B483-4B47-91C3-C7DB5D5F3F8D}"/>
              </a:ext>
            </a:extLst>
          </p:cNvPr>
          <p:cNvSpPr/>
          <p:nvPr/>
        </p:nvSpPr>
        <p:spPr>
          <a:xfrm>
            <a:off x="2344872" y="1181166"/>
            <a:ext cx="90286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60363"/>
            <a:r>
              <a:rPr lang="en-GB" sz="2400" b="1">
                <a:solidFill>
                  <a:schemeClr val="bg1"/>
                </a:solidFill>
                <a:latin typeface="NBS Light" panose="020B0303030303020204" pitchFamily="34" charset="0"/>
              </a:rPr>
              <a:t>We’re the world’s largest building society, the UK’s second largest mortgage provider, and one of the UK’s largest savings providers.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F3689B-8E0C-4FBF-A432-25EA1080EC7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51144" y="3866479"/>
            <a:ext cx="1142425" cy="13419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37078D8-CA45-43B6-8E94-F46A83E4BD77}"/>
              </a:ext>
            </a:extLst>
          </p:cNvPr>
          <p:cNvSpPr txBox="1"/>
          <p:nvPr/>
        </p:nvSpPr>
        <p:spPr>
          <a:xfrm>
            <a:off x="508570" y="6522000"/>
            <a:ext cx="5230861" cy="1541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1400">
                <a:solidFill>
                  <a:schemeClr val="bg1">
                    <a:lumMod val="50000"/>
                  </a:schemeClr>
                </a:solidFill>
                <a:latin typeface="NBS Light" pitchFamily="2" charset="0"/>
              </a:rPr>
              <a:t>These statistics are taken from our September 2020 Interim Resul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B0954-1947-4363-99CC-6A71F0534758}"/>
              </a:ext>
            </a:extLst>
          </p:cNvPr>
          <p:cNvSpPr txBox="1"/>
          <p:nvPr/>
        </p:nvSpPr>
        <p:spPr>
          <a:xfrm>
            <a:off x="4128212" y="1131309"/>
            <a:ext cx="2446671" cy="1304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4000">
                <a:latin typeface="NBS Light" panose="020B0303030303020204" pitchFamily="34" charset="0"/>
              </a:rPr>
              <a:t>No.1 </a:t>
            </a:r>
          </a:p>
          <a:p>
            <a:r>
              <a:rPr lang="en-GB" sz="2000">
                <a:latin typeface="NBS Light" panose="020B0303030303020204" pitchFamily="34" charset="0"/>
              </a:rPr>
              <a:t>for customer satisfaction amongst our peer group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BA4B5-4BB1-46DC-9652-B2D35877F7E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874" y="1131308"/>
            <a:ext cx="1466658" cy="140249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1D06D20-FF96-4F4A-AF94-394A4F74519E}"/>
              </a:ext>
            </a:extLst>
          </p:cNvPr>
          <p:cNvSpPr txBox="1"/>
          <p:nvPr/>
        </p:nvSpPr>
        <p:spPr>
          <a:xfrm>
            <a:off x="561556" y="2257248"/>
            <a:ext cx="1738744" cy="1304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3200">
                <a:latin typeface="NBS Light" panose="020B0303030303020204" pitchFamily="34" charset="0"/>
              </a:rPr>
              <a:t>16.3 million member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2784B60-5294-4CC7-AC3B-0824B8A69B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03034" y="2194835"/>
            <a:ext cx="1459760" cy="117230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9E1F6E8-01D5-4B1B-BB95-43506A621582}"/>
              </a:ext>
            </a:extLst>
          </p:cNvPr>
          <p:cNvSpPr txBox="1"/>
          <p:nvPr/>
        </p:nvSpPr>
        <p:spPr>
          <a:xfrm>
            <a:off x="4169910" y="2945807"/>
            <a:ext cx="2370652" cy="1304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4000">
                <a:latin typeface="NBS Light" panose="020B0303030303020204" pitchFamily="34" charset="0"/>
              </a:rPr>
              <a:t>UK’s </a:t>
            </a:r>
          </a:p>
          <a:p>
            <a:r>
              <a:rPr lang="en-GB" sz="2000">
                <a:latin typeface="NBS Light" panose="020B0303030303020204" pitchFamily="34" charset="0"/>
              </a:rPr>
              <a:t>most trusted financial brand </a:t>
            </a:r>
            <a:endParaRPr lang="en-GB" sz="4000">
              <a:latin typeface="NBS Light" panose="020B03030303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D88BDB6-41B5-4A3D-818F-FD608427B949}"/>
              </a:ext>
            </a:extLst>
          </p:cNvPr>
          <p:cNvSpPr txBox="1"/>
          <p:nvPr/>
        </p:nvSpPr>
        <p:spPr>
          <a:xfrm>
            <a:off x="4040070" y="4662565"/>
            <a:ext cx="2534810" cy="1304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3200">
                <a:latin typeface="NBS Light" panose="020B0303030303020204" pitchFamily="34" charset="0"/>
              </a:rPr>
              <a:t>Banking Brand of the year 2020</a:t>
            </a:r>
            <a:r>
              <a:rPr lang="en-GB" sz="2000">
                <a:latin typeface="NBS Light" panose="020B0303030303020204" pitchFamily="34" charset="0"/>
              </a:rPr>
              <a:t> </a:t>
            </a:r>
          </a:p>
          <a:p>
            <a:r>
              <a:rPr lang="en-GB" sz="2000">
                <a:latin typeface="NBS Light" panose="020B0303030303020204" pitchFamily="34" charset="0"/>
              </a:rPr>
              <a:t>for the fourth year </a:t>
            </a:r>
            <a:endParaRPr lang="en-GB" sz="4000" i="1">
              <a:latin typeface="NBS Light" panose="020B0303030303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CA8B321-F900-4F32-B5E4-A0482C5BB1F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8706" y="2705343"/>
            <a:ext cx="1235975" cy="154521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8180308-514A-420E-A3B1-D0991B34E71E}"/>
              </a:ext>
            </a:extLst>
          </p:cNvPr>
          <p:cNvSpPr txBox="1"/>
          <p:nvPr/>
        </p:nvSpPr>
        <p:spPr>
          <a:xfrm>
            <a:off x="477238" y="3932114"/>
            <a:ext cx="1987996" cy="1304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2000">
                <a:latin typeface="NBS Light" panose="020B0303030303020204" pitchFamily="34" charset="0"/>
              </a:rPr>
              <a:t>Helped</a:t>
            </a:r>
            <a:r>
              <a:rPr lang="en-GB" sz="4000">
                <a:latin typeface="NBS Light" panose="020B0303030303020204" pitchFamily="34" charset="0"/>
              </a:rPr>
              <a:t> 1 in 6 </a:t>
            </a:r>
            <a:r>
              <a:rPr lang="en-GB" sz="2000">
                <a:latin typeface="NBS Light" panose="020B0303030303020204" pitchFamily="34" charset="0"/>
              </a:rPr>
              <a:t>first time buyers into their first home</a:t>
            </a:r>
            <a:endParaRPr lang="en-GB" sz="3600">
              <a:latin typeface="NBS Light" panose="020B0303030303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50B943E-5C15-4634-BAEE-E6F690FA8EE2}"/>
              </a:ext>
            </a:extLst>
          </p:cNvPr>
          <p:cNvSpPr txBox="1"/>
          <p:nvPr/>
        </p:nvSpPr>
        <p:spPr>
          <a:xfrm>
            <a:off x="8431421" y="1810327"/>
            <a:ext cx="2404451" cy="15065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2000">
                <a:latin typeface="NBS Light" panose="020B0303030303020204" pitchFamily="34" charset="0"/>
              </a:rPr>
              <a:t>Backing our high streets and communities with </a:t>
            </a:r>
            <a:r>
              <a:rPr lang="en-GB" sz="3200">
                <a:latin typeface="NBS Light" panose="020B0303030303020204" pitchFamily="34" charset="0"/>
              </a:rPr>
              <a:t>branch promise </a:t>
            </a:r>
            <a:r>
              <a:rPr lang="en-GB" sz="2000">
                <a:latin typeface="NBS Light" panose="020B0303030303020204" pitchFamily="34" charset="0"/>
              </a:rPr>
              <a:t>until 2023</a:t>
            </a:r>
            <a:endParaRPr lang="en-GB" sz="2400">
              <a:latin typeface="NBS Light" panose="020B0303030303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6532604-8961-4343-AA12-972B471B73F3}"/>
              </a:ext>
            </a:extLst>
          </p:cNvPr>
          <p:cNvSpPr txBox="1"/>
          <p:nvPr/>
        </p:nvSpPr>
        <p:spPr>
          <a:xfrm>
            <a:off x="8469962" y="3733698"/>
            <a:ext cx="2165965" cy="1304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2000" dirty="0">
                <a:latin typeface="NBS Light" panose="020B0303030303020204" pitchFamily="34" charset="0"/>
              </a:rPr>
              <a:t>Created a</a:t>
            </a:r>
            <a:r>
              <a:rPr lang="en-GB" sz="2400" dirty="0">
                <a:latin typeface="NBS Light" panose="020B0303030303020204" pitchFamily="34" charset="0"/>
              </a:rPr>
              <a:t> </a:t>
            </a:r>
            <a:r>
              <a:rPr lang="en-GB" sz="3600" dirty="0">
                <a:latin typeface="NBS Light" panose="020B0303030303020204" pitchFamily="34" charset="0"/>
              </a:rPr>
              <a:t>£1 billion </a:t>
            </a:r>
            <a:r>
              <a:rPr lang="en-GB" sz="2000" dirty="0">
                <a:latin typeface="NBS Light" panose="020B0303030303020204" pitchFamily="34" charset="0"/>
              </a:rPr>
              <a:t>loan fund to incentivise greener homes</a:t>
            </a:r>
            <a:endParaRPr lang="en-GB" sz="2400" dirty="0">
              <a:latin typeface="NBS Light" panose="020B030303030302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31E5B42E-F82B-4F20-98EA-37D922082ED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9188" y="3932114"/>
            <a:ext cx="1080183" cy="119532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E4AE888-01AE-4E56-86EB-A4AE67C3653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9188" y="1926361"/>
            <a:ext cx="1142897" cy="1072318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573D624-795A-4036-B7CC-1DE3C89DEE22}"/>
              </a:ext>
            </a:extLst>
          </p:cNvPr>
          <p:cNvCxnSpPr>
            <a:cxnSpLocks/>
          </p:cNvCxnSpPr>
          <p:nvPr/>
        </p:nvCxnSpPr>
        <p:spPr>
          <a:xfrm>
            <a:off x="3744413" y="1926361"/>
            <a:ext cx="0" cy="3614674"/>
          </a:xfrm>
          <a:prstGeom prst="line">
            <a:avLst/>
          </a:prstGeom>
          <a:ln w="31750" cap="rnd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55943F-F88A-4C7E-8404-5A6D0EC645EC}"/>
              </a:ext>
            </a:extLst>
          </p:cNvPr>
          <p:cNvCxnSpPr>
            <a:cxnSpLocks/>
          </p:cNvCxnSpPr>
          <p:nvPr/>
        </p:nvCxnSpPr>
        <p:spPr>
          <a:xfrm>
            <a:off x="8147511" y="1926361"/>
            <a:ext cx="26794" cy="3614674"/>
          </a:xfrm>
          <a:prstGeom prst="line">
            <a:avLst/>
          </a:prstGeom>
          <a:ln w="31750" cap="rnd">
            <a:solidFill>
              <a:schemeClr val="accent5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Slide Number Placeholder 7">
            <a:extLst>
              <a:ext uri="{FF2B5EF4-FFF2-40B4-BE49-F238E27FC236}">
                <a16:creationId xmlns:a16="http://schemas.microsoft.com/office/drawing/2014/main" id="{D4D09E1D-C0FB-46DC-BF32-EF88E319EB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5832" y="384000"/>
            <a:ext cx="672168" cy="384000"/>
          </a:xfrm>
        </p:spPr>
        <p:txBody>
          <a:bodyPr/>
          <a:lstStyle/>
          <a:p>
            <a:pPr defTabSz="609585"/>
            <a:fld id="{2E9A4987-E228-4949-89FA-A71A39C61D9B}" type="slidenum">
              <a:rPr lang="en-US">
                <a:solidFill>
                  <a:srgbClr val="002878"/>
                </a:solidFill>
              </a:rPr>
              <a:pPr defTabSz="609585"/>
              <a:t>5</a:t>
            </a:fld>
            <a:endParaRPr lang="en-US">
              <a:solidFill>
                <a:srgbClr val="002878"/>
              </a:solidFill>
            </a:endParaRPr>
          </a:p>
        </p:txBody>
      </p:sp>
      <p:pic>
        <p:nvPicPr>
          <p:cNvPr id="2056" name="Picture 8" descr="See the source image">
            <a:extLst>
              <a:ext uri="{FF2B5EF4-FFF2-40B4-BE49-F238E27FC236}">
                <a16:creationId xmlns:a16="http://schemas.microsoft.com/office/drawing/2014/main" id="{78B5EA5A-9A94-401E-A6F7-F975A8385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9368" y="5052567"/>
            <a:ext cx="1132346" cy="725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92427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rationale and response to chang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D7DD7D5-634B-AB44-8AE9-1A9C002E54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2000" b="0" i="0" kern="1200">
                <a:solidFill>
                  <a:schemeClr val="tx1"/>
                </a:solidFill>
                <a:latin typeface="NBS Light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A4987-E228-4949-89FA-A71A39C61D9B}" type="slidenum">
              <a:rPr lang="en-US" smtClean="0"/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878"/>
              </a:solidFill>
              <a:effectLst/>
              <a:uLnTx/>
              <a:uFillTx/>
              <a:latin typeface="NBS Light" pitchFamily="2" charset="0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1FE9CD2-1B99-424C-A0CD-8C7BD134DDE0}"/>
              </a:ext>
            </a:extLst>
          </p:cNvPr>
          <p:cNvGrpSpPr/>
          <p:nvPr/>
        </p:nvGrpSpPr>
        <p:grpSpPr>
          <a:xfrm>
            <a:off x="798711" y="1199576"/>
            <a:ext cx="10594577" cy="4908999"/>
            <a:chOff x="784546" y="1415333"/>
            <a:chExt cx="10594577" cy="490899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E073EAF-4643-459B-9AE5-BFB0325D0D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2877" y="1952691"/>
              <a:ext cx="3341035" cy="3341035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D6939ED-B7BA-4674-A77C-E4E6EEDBD6B3}"/>
                </a:ext>
              </a:extLst>
            </p:cNvPr>
            <p:cNvGrpSpPr/>
            <p:nvPr/>
          </p:nvGrpSpPr>
          <p:grpSpPr>
            <a:xfrm>
              <a:off x="6326825" y="1420412"/>
              <a:ext cx="5052297" cy="2171208"/>
              <a:chOff x="6188146" y="1420412"/>
              <a:chExt cx="5052297" cy="2171208"/>
            </a:xfrm>
          </p:grpSpPr>
          <p:sp>
            <p:nvSpPr>
              <p:cNvPr id="26" name="Rectangle: Rounded Corners 17">
                <a:extLst>
                  <a:ext uri="{FF2B5EF4-FFF2-40B4-BE49-F238E27FC236}">
                    <a16:creationId xmlns:a16="http://schemas.microsoft.com/office/drawing/2014/main" id="{7D31F95B-0D68-4074-8F1B-84D9D8B8DFEC}"/>
                  </a:ext>
                </a:extLst>
              </p:cNvPr>
              <p:cNvSpPr/>
              <p:nvPr/>
            </p:nvSpPr>
            <p:spPr>
              <a:xfrm>
                <a:off x="6188146" y="1420413"/>
                <a:ext cx="5052297" cy="2171207"/>
              </a:xfrm>
              <a:prstGeom prst="roundRect">
                <a:avLst>
                  <a:gd name="adj" fmla="val 1972"/>
                </a:avLst>
              </a:prstGeom>
              <a:solidFill>
                <a:schemeClr val="accent5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40000" tIns="2400000" rIns="240000" bIns="812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BS Light" pitchFamily="2" charset="0"/>
                  <a:ea typeface="+mn-ea"/>
                  <a:cs typeface="+mn-cs"/>
                </a:endParaRPr>
              </a:p>
            </p:txBody>
          </p:sp>
          <p:pic>
            <p:nvPicPr>
              <p:cNvPr id="27" name="Graphic 26">
                <a:extLst>
                  <a:ext uri="{FF2B5EF4-FFF2-40B4-BE49-F238E27FC236}">
                    <a16:creationId xmlns:a16="http://schemas.microsoft.com/office/drawing/2014/main" id="{273E6F81-9ADD-4316-971F-59E99122D5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412393" y="1420412"/>
                <a:ext cx="1920000" cy="1920000"/>
              </a:xfrm>
              <a:prstGeom prst="rect">
                <a:avLst/>
              </a:prstGeom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8488ACC4-C1DA-4B3D-888D-DB2A7B7C635B}"/>
                  </a:ext>
                </a:extLst>
              </p:cNvPr>
              <p:cNvSpPr txBox="1"/>
              <p:nvPr/>
            </p:nvSpPr>
            <p:spPr>
              <a:xfrm>
                <a:off x="8512387" y="1594497"/>
                <a:ext cx="2228523" cy="1938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BS Medium" pitchFamily="2" charset="0"/>
                    <a:ea typeface="+mn-ea"/>
                    <a:cs typeface="+mn-cs"/>
                  </a:rPr>
                  <a:t>Bring together multi-functional teams with a shared purpose</a:t>
                </a: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BS Light" pitchFamily="2" charset="0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0028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6CF1831-5D52-4734-AFA0-C49187CBDBD7}"/>
                </a:ext>
              </a:extLst>
            </p:cNvPr>
            <p:cNvGrpSpPr/>
            <p:nvPr/>
          </p:nvGrpSpPr>
          <p:grpSpPr>
            <a:xfrm>
              <a:off x="784546" y="3904533"/>
              <a:ext cx="5052297" cy="2286430"/>
              <a:chOff x="777946" y="3904533"/>
              <a:chExt cx="5052297" cy="2286430"/>
            </a:xfrm>
          </p:grpSpPr>
          <p:sp>
            <p:nvSpPr>
              <p:cNvPr id="23" name="Rectangle: Rounded Corners 17">
                <a:extLst>
                  <a:ext uri="{FF2B5EF4-FFF2-40B4-BE49-F238E27FC236}">
                    <a16:creationId xmlns:a16="http://schemas.microsoft.com/office/drawing/2014/main" id="{5E7D988B-3CC2-4E73-95AB-BF3E98509822}"/>
                  </a:ext>
                </a:extLst>
              </p:cNvPr>
              <p:cNvSpPr/>
              <p:nvPr/>
            </p:nvSpPr>
            <p:spPr>
              <a:xfrm>
                <a:off x="777946" y="3904533"/>
                <a:ext cx="5052297" cy="2171207"/>
              </a:xfrm>
              <a:prstGeom prst="roundRect">
                <a:avLst>
                  <a:gd name="adj" fmla="val 1972"/>
                </a:avLst>
              </a:prstGeom>
              <a:solidFill>
                <a:schemeClr val="accent2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40000" tIns="2400000" rIns="240000" bIns="812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BS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AE58053-9CDA-40EE-8C27-92064CB25CBC}"/>
                  </a:ext>
                </a:extLst>
              </p:cNvPr>
              <p:cNvSpPr txBox="1"/>
              <p:nvPr/>
            </p:nvSpPr>
            <p:spPr>
              <a:xfrm>
                <a:off x="3238053" y="4149378"/>
                <a:ext cx="2228523" cy="2041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BS Medium" pitchFamily="2" charset="0"/>
                    <a:ea typeface="+mn-ea"/>
                    <a:cs typeface="+mn-cs"/>
                  </a:rPr>
                  <a:t>Deliver value sooner, enabling more from start </a:t>
                </a:r>
                <a:br>
                  <a: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BS Medium" pitchFamily="2" charset="0"/>
                    <a:ea typeface="+mn-ea"/>
                    <a:cs typeface="+mn-cs"/>
                  </a:rPr>
                </a:br>
                <a:r>
                  <a: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BS Medium" pitchFamily="2" charset="0"/>
                    <a:ea typeface="+mn-ea"/>
                    <a:cs typeface="+mn-cs"/>
                  </a:rPr>
                  <a:t>to finish</a:t>
                </a: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BS Light" pitchFamily="2" charset="0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0028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0E528ADE-6CFB-4C51-BB1D-2CE0E36D71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28308" y="3909612"/>
                <a:ext cx="1920000" cy="1920000"/>
              </a:xfrm>
              <a:prstGeom prst="rect">
                <a:avLst/>
              </a:prstGeom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E2CF6BC-0953-47B4-954D-CCCDED00668E}"/>
                </a:ext>
              </a:extLst>
            </p:cNvPr>
            <p:cNvGrpSpPr/>
            <p:nvPr/>
          </p:nvGrpSpPr>
          <p:grpSpPr>
            <a:xfrm>
              <a:off x="6326826" y="3909613"/>
              <a:ext cx="5052297" cy="2171207"/>
              <a:chOff x="6254186" y="3909613"/>
              <a:chExt cx="5052297" cy="2171207"/>
            </a:xfrm>
          </p:grpSpPr>
          <p:sp>
            <p:nvSpPr>
              <p:cNvPr id="21" name="Rectangle: Rounded Corners 17">
                <a:extLst>
                  <a:ext uri="{FF2B5EF4-FFF2-40B4-BE49-F238E27FC236}">
                    <a16:creationId xmlns:a16="http://schemas.microsoft.com/office/drawing/2014/main" id="{49074405-45BC-465E-891C-85309E50F213}"/>
                  </a:ext>
                </a:extLst>
              </p:cNvPr>
              <p:cNvSpPr/>
              <p:nvPr/>
            </p:nvSpPr>
            <p:spPr>
              <a:xfrm>
                <a:off x="6254186" y="3909613"/>
                <a:ext cx="5052297" cy="2171207"/>
              </a:xfrm>
              <a:prstGeom prst="roundRect">
                <a:avLst>
                  <a:gd name="adj" fmla="val 1972"/>
                </a:avLst>
              </a:prstGeom>
              <a:solidFill>
                <a:schemeClr val="bg2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40000" tIns="2400000" rIns="240000" bIns="812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BS Light" pitchFamily="2" charset="0"/>
                  <a:ea typeface="+mn-ea"/>
                  <a:cs typeface="+mn-cs"/>
                </a:endParaRPr>
              </a:p>
            </p:txBody>
          </p:sp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B6AD2DEC-01F4-422C-B3F2-28E1BD6405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716521" y="4193181"/>
                <a:ext cx="1678447" cy="1678447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91EE7EF-212A-4A93-A98E-666008C33DE4}"/>
                </a:ext>
              </a:extLst>
            </p:cNvPr>
            <p:cNvGrpSpPr/>
            <p:nvPr/>
          </p:nvGrpSpPr>
          <p:grpSpPr>
            <a:xfrm>
              <a:off x="784546" y="1415333"/>
              <a:ext cx="5052297" cy="2171207"/>
              <a:chOff x="711906" y="1415333"/>
              <a:chExt cx="5052297" cy="2171207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F70DEFD5-CF12-49A0-9374-3804D0CD3DEA}"/>
                  </a:ext>
                </a:extLst>
              </p:cNvPr>
              <p:cNvSpPr/>
              <p:nvPr/>
            </p:nvSpPr>
            <p:spPr>
              <a:xfrm>
                <a:off x="711906" y="1415333"/>
                <a:ext cx="5052297" cy="2171207"/>
              </a:xfrm>
              <a:prstGeom prst="roundRect">
                <a:avLst>
                  <a:gd name="adj" fmla="val 1972"/>
                </a:avLst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40000" tIns="2400000" rIns="240000" bIns="812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BS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07E9F42-170A-4641-8037-50099858433C}"/>
                  </a:ext>
                </a:extLst>
              </p:cNvPr>
              <p:cNvSpPr txBox="1"/>
              <p:nvPr/>
            </p:nvSpPr>
            <p:spPr>
              <a:xfrm>
                <a:off x="3131835" y="1949525"/>
                <a:ext cx="2228523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BS Medium" pitchFamily="2" charset="0"/>
                    <a:ea typeface="+mn-ea"/>
                    <a:cs typeface="+mn-cs"/>
                  </a:rPr>
                  <a:t>Keep relevant and competitive</a:t>
                </a: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0028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A3D9C9E6-8BCD-4CCF-8C99-6D1B0F6C73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97832" y="1634760"/>
                <a:ext cx="1794241" cy="1794241"/>
              </a:xfrm>
              <a:prstGeom prst="rect">
                <a:avLst/>
              </a:prstGeom>
            </p:spPr>
          </p:pic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BBD3635-76FC-477C-A530-6EBA292D6697}"/>
                </a:ext>
              </a:extLst>
            </p:cNvPr>
            <p:cNvSpPr txBox="1"/>
            <p:nvPr/>
          </p:nvSpPr>
          <p:spPr>
            <a:xfrm>
              <a:off x="8512387" y="4016008"/>
              <a:ext cx="2728056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BS Medium" pitchFamily="2" charset="0"/>
                  <a:ea typeface="+mn-ea"/>
                  <a:cs typeface="+mn-cs"/>
                </a:rPr>
                <a:t>Create focus on new capabilities to enable long-term strategic development of the Society</a:t>
              </a:r>
              <a:endPara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BS Medium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2878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12008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 a why/how DevOps tal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8AD614-65E7-5442-8379-E06E8EA148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997" y="1525693"/>
            <a:ext cx="5152707" cy="4167971"/>
          </a:xfrm>
        </p:spPr>
        <p:txBody>
          <a:bodyPr>
            <a:normAutofit/>
          </a:bodyPr>
          <a:lstStyle/>
          <a:p>
            <a:pPr>
              <a:spcBef>
                <a:spcPts val="1000"/>
              </a:spcBef>
            </a:pPr>
            <a:r>
              <a:rPr lang="en-US" sz="2400" dirty="0"/>
              <a:t>We assume you already: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have a vision of what “cool” looks like 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have some pockets of great succes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are sure you want to scale things up</a:t>
            </a:r>
          </a:p>
        </p:txBody>
      </p:sp>
      <p:pic>
        <p:nvPicPr>
          <p:cNvPr id="4098" name="Picture 2" descr="See the source image">
            <a:extLst>
              <a:ext uri="{FF2B5EF4-FFF2-40B4-BE49-F238E27FC236}">
                <a16:creationId xmlns:a16="http://schemas.microsoft.com/office/drawing/2014/main" id="{B8741320-9FAB-433B-A021-26B13D6F8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6434" y="1532413"/>
            <a:ext cx="5695569" cy="4061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122DCC6-E9D1-4A62-A0C3-413C54B141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4668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336000"/>
            <a:ext cx="11492544" cy="432000"/>
          </a:xfrm>
        </p:spPr>
        <p:txBody>
          <a:bodyPr>
            <a:normAutofit/>
          </a:bodyPr>
          <a:lstStyle/>
          <a:p>
            <a:r>
              <a:rPr lang="en-US" dirty="0"/>
              <a:t>Enabling and Encouraging DevOps with control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B2BA2C3-7EBB-41A9-96C6-D59CAC498BAD}"/>
              </a:ext>
            </a:extLst>
          </p:cNvPr>
          <p:cNvSpPr txBox="1">
            <a:spLocks/>
          </p:cNvSpPr>
          <p:nvPr/>
        </p:nvSpPr>
        <p:spPr>
          <a:xfrm>
            <a:off x="479997" y="1525693"/>
            <a:ext cx="5713539" cy="41679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defRPr sz="1867" b="1" i="0" kern="1200" baseline="0">
                <a:solidFill>
                  <a:schemeClr val="bg2"/>
                </a:solidFill>
                <a:latin typeface="NBS Light"/>
                <a:ea typeface="+mn-ea"/>
                <a:cs typeface="NBS Light"/>
              </a:defRPr>
            </a:lvl1pPr>
            <a:lvl2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20000"/>
              <a:buFontTx/>
              <a:buNone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2pPr>
            <a:lvl3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3pPr>
            <a:lvl4pPr marL="191995" indent="-19199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867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4pPr>
            <a:lvl5pPr marL="6351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tabLst/>
              <a:defRPr sz="1333" b="0" i="0" kern="1200" baseline="0">
                <a:solidFill>
                  <a:schemeClr val="accent6">
                    <a:lumMod val="65000"/>
                    <a:lumOff val="35000"/>
                  </a:schemeClr>
                </a:solidFill>
                <a:latin typeface="NBS Light"/>
                <a:ea typeface="+mn-ea"/>
                <a:cs typeface="NBS Light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</a:pPr>
            <a:r>
              <a:rPr lang="en-US" sz="2400" dirty="0"/>
              <a:t>Controls must: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be appropriate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have efficient processe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promote safe autonomy – accountable freedom</a:t>
            </a:r>
          </a:p>
        </p:txBody>
      </p:sp>
      <p:pic>
        <p:nvPicPr>
          <p:cNvPr id="10" name="Picture 4" descr="See the source image">
            <a:extLst>
              <a:ext uri="{FF2B5EF4-FFF2-40B4-BE49-F238E27FC236}">
                <a16:creationId xmlns:a16="http://schemas.microsoft.com/office/drawing/2014/main" id="{8A83B071-CFEA-4AAF-99F5-2D362560A9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59298" y="1228428"/>
            <a:ext cx="4686170" cy="4686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066558B-2CD0-41C0-84B2-3AF3C7AA20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436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BFC17-42DA-454C-B444-47D9A5DAA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ile Adolescent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8AD614-65E7-5442-8379-E06E8EA148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0000" y="1524001"/>
            <a:ext cx="5152707" cy="2143328"/>
          </a:xfrm>
        </p:spPr>
        <p:txBody>
          <a:bodyPr>
            <a:normAutofit/>
          </a:bodyPr>
          <a:lstStyle/>
          <a:p>
            <a:pPr>
              <a:spcBef>
                <a:spcPts val="1000"/>
              </a:spcBef>
            </a:pPr>
            <a:r>
              <a:rPr lang="en-US" sz="2200"/>
              <a:t>Agile Adolescents :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200"/>
              <a:t>Enthusiastic and ambitiou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200"/>
              <a:t>Progressively more consequences of actions</a:t>
            </a:r>
          </a:p>
          <a:p>
            <a:pPr marL="342900" indent="-3429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200"/>
              <a:t>Like to challenge the status quo</a:t>
            </a:r>
          </a:p>
          <a:p>
            <a:pPr>
              <a:spcBef>
                <a:spcPts val="1000"/>
              </a:spcBef>
            </a:pPr>
            <a:endParaRPr lang="en-US" sz="2400"/>
          </a:p>
        </p:txBody>
      </p:sp>
      <p:pic>
        <p:nvPicPr>
          <p:cNvPr id="4102" name="Picture 6" descr="See the source image">
            <a:extLst>
              <a:ext uri="{FF2B5EF4-FFF2-40B4-BE49-F238E27FC236}">
                <a16:creationId xmlns:a16="http://schemas.microsoft.com/office/drawing/2014/main" id="{7772AFC8-16A2-48A3-8618-51422BBF28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63703" y="1524000"/>
            <a:ext cx="5448300" cy="363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3C71D1D-C543-402F-9F30-14F21DD0E0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832" y="384000"/>
            <a:ext cx="672168" cy="38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2000" b="0" i="0">
                <a:solidFill>
                  <a:schemeClr val="tx1"/>
                </a:solidFill>
                <a:latin typeface="NBS Light" pitchFamily="2" charset="0"/>
              </a:defRPr>
            </a:lvl1pPr>
          </a:lstStyle>
          <a:p>
            <a:fld id="{2E9A4987-E228-4949-89FA-A71A39C61D9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301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ext Master">
  <a:themeElements>
    <a:clrScheme name="Custom 37">
      <a:dk1>
        <a:srgbClr val="002878"/>
      </a:dk1>
      <a:lt1>
        <a:srgbClr val="FFFFFF"/>
      </a:lt1>
      <a:dk2>
        <a:srgbClr val="ED1C24"/>
      </a:dk2>
      <a:lt2>
        <a:srgbClr val="0077C8"/>
      </a:lt2>
      <a:accent1>
        <a:srgbClr val="E1671B"/>
      </a:accent1>
      <a:accent2>
        <a:srgbClr val="E0457B"/>
      </a:accent2>
      <a:accent3>
        <a:srgbClr val="FFCE00"/>
      </a:accent3>
      <a:accent4>
        <a:srgbClr val="582C83"/>
      </a:accent4>
      <a:accent5>
        <a:srgbClr val="77B80D"/>
      </a:accent5>
      <a:accent6>
        <a:srgbClr val="000000"/>
      </a:accent6>
      <a:hlink>
        <a:srgbClr val="0077C8"/>
      </a:hlink>
      <a:folHlink>
        <a:srgbClr val="582C8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smtClean="0">
            <a:solidFill>
              <a:schemeClr val="bg1">
                <a:lumMod val="50000"/>
              </a:schemeClr>
            </a:solidFill>
            <a:latin typeface="NBS Light" pitchFamily="2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Text Master">
  <a:themeElements>
    <a:clrScheme name="Custom 37">
      <a:dk1>
        <a:srgbClr val="002878"/>
      </a:dk1>
      <a:lt1>
        <a:srgbClr val="FFFFFF"/>
      </a:lt1>
      <a:dk2>
        <a:srgbClr val="ED1C24"/>
      </a:dk2>
      <a:lt2>
        <a:srgbClr val="0077C8"/>
      </a:lt2>
      <a:accent1>
        <a:srgbClr val="E1671B"/>
      </a:accent1>
      <a:accent2>
        <a:srgbClr val="E0457B"/>
      </a:accent2>
      <a:accent3>
        <a:srgbClr val="FFCE00"/>
      </a:accent3>
      <a:accent4>
        <a:srgbClr val="582C83"/>
      </a:accent4>
      <a:accent5>
        <a:srgbClr val="77B80D"/>
      </a:accent5>
      <a:accent6>
        <a:srgbClr val="000000"/>
      </a:accent6>
      <a:hlink>
        <a:srgbClr val="0077C8"/>
      </a:hlink>
      <a:folHlink>
        <a:srgbClr val="582C8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smtClean="0">
            <a:solidFill>
              <a:schemeClr val="bg1">
                <a:lumMod val="50000"/>
              </a:schemeClr>
            </a:solidFill>
            <a:latin typeface="NBS Light" pitchFamily="2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ext Master">
  <a:themeElements>
    <a:clrScheme name="Custom 37">
      <a:dk1>
        <a:srgbClr val="002878"/>
      </a:dk1>
      <a:lt1>
        <a:srgbClr val="FFFFFF"/>
      </a:lt1>
      <a:dk2>
        <a:srgbClr val="ED1C24"/>
      </a:dk2>
      <a:lt2>
        <a:srgbClr val="0077C8"/>
      </a:lt2>
      <a:accent1>
        <a:srgbClr val="E1671B"/>
      </a:accent1>
      <a:accent2>
        <a:srgbClr val="E0457B"/>
      </a:accent2>
      <a:accent3>
        <a:srgbClr val="FFCE00"/>
      </a:accent3>
      <a:accent4>
        <a:srgbClr val="582C83"/>
      </a:accent4>
      <a:accent5>
        <a:srgbClr val="77B80D"/>
      </a:accent5>
      <a:accent6>
        <a:srgbClr val="000000"/>
      </a:accent6>
      <a:hlink>
        <a:srgbClr val="0077C8"/>
      </a:hlink>
      <a:folHlink>
        <a:srgbClr val="582C8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smtClean="0">
            <a:solidFill>
              <a:schemeClr val="bg1">
                <a:lumMod val="50000"/>
              </a:schemeClr>
            </a:solidFill>
            <a:latin typeface="NBS Light" pitchFamily="2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8</Words>
  <Application>Microsoft Office PowerPoint</Application>
  <PresentationFormat>Widescreen</PresentationFormat>
  <Paragraphs>222</Paragraphs>
  <Slides>28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0" baseType="lpstr">
      <vt:lpstr>Arial</vt:lpstr>
      <vt:lpstr>Brandon Grotesque Medium</vt:lpstr>
      <vt:lpstr>Brandon Grotesque Regular</vt:lpstr>
      <vt:lpstr>Calibri</vt:lpstr>
      <vt:lpstr>Calibri Light</vt:lpstr>
      <vt:lpstr>NBS Light</vt:lpstr>
      <vt:lpstr>NBS Medium</vt:lpstr>
      <vt:lpstr>2_Text Master</vt:lpstr>
      <vt:lpstr>1_Text Master</vt:lpstr>
      <vt:lpstr>Text Master</vt:lpstr>
      <vt:lpstr>Office Theme</vt:lpstr>
      <vt:lpstr>think-cell Slide</vt:lpstr>
      <vt:lpstr>PowerPoint Presentation</vt:lpstr>
      <vt:lpstr>Agenda</vt:lpstr>
      <vt:lpstr>Who we are</vt:lpstr>
      <vt:lpstr>About Nationwide</vt:lpstr>
      <vt:lpstr>Firstly, a bit about Nationwide… </vt:lpstr>
      <vt:lpstr>Our rationale and response to change</vt:lpstr>
      <vt:lpstr>Not a why/how DevOps talk</vt:lpstr>
      <vt:lpstr>Enabling and Encouraging DevOps with controls</vt:lpstr>
      <vt:lpstr>Agile Adolescents </vt:lpstr>
      <vt:lpstr>Agile Adolescents </vt:lpstr>
      <vt:lpstr>We knew several years ago that we needed to make changes…</vt:lpstr>
      <vt:lpstr>We knew several years ago that we needed to make changes…</vt:lpstr>
      <vt:lpstr>We knew several years ago that we needed to make changes…</vt:lpstr>
      <vt:lpstr>We knew several years ago that we needed to make changes…</vt:lpstr>
      <vt:lpstr>So tight controls persisted and even multiplied to fill a perceived void</vt:lpstr>
      <vt:lpstr>Enter “Intelligent Control”</vt:lpstr>
      <vt:lpstr>What are Controls and Why do we need them? </vt:lpstr>
      <vt:lpstr>Our Solution </vt:lpstr>
      <vt:lpstr>Enabling Transparency and Traceability </vt:lpstr>
      <vt:lpstr>Lesson – Understand why processes and controls existed in the first place</vt:lpstr>
      <vt:lpstr>Lesson – Enterprise visible tickets really do work</vt:lpstr>
      <vt:lpstr>Lesson – You can’t over communicate</vt:lpstr>
      <vt:lpstr>Lesson - Acknowledge the unsafety</vt:lpstr>
      <vt:lpstr>Lesson – Sometimes it’s the user and not the controls</vt:lpstr>
      <vt:lpstr>Lesson – Intelligent Control is not such an Intelligent name</vt:lpstr>
      <vt:lpstr>What’s next and where we’d like help</vt:lpstr>
      <vt:lpstr>Conclusion</vt:lpstr>
      <vt:lpstr>Thank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5-04T15:08:38Z</dcterms:created>
  <dcterms:modified xsi:type="dcterms:W3CDTF">2021-05-04T15:08:48Z</dcterms:modified>
</cp:coreProperties>
</file>